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5"/>
  </p:notesMasterIdLst>
  <p:sldIdLst>
    <p:sldId id="257" r:id="rId2"/>
    <p:sldId id="258" r:id="rId3"/>
    <p:sldId id="5888" r:id="rId4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 varScale="1">
        <p:scale>
          <a:sx n="88" d="100"/>
          <a:sy n="88" d="100"/>
        </p:scale>
        <p:origin x="5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E88680-215D-4BCB-804D-F24C22573983}" type="datetimeFigureOut">
              <a:rPr lang="en-GB" smtClean="0"/>
              <a:t>27/08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D5C2CA-C201-4BFD-82A6-C342A3EC65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71024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09600" y="233695"/>
            <a:ext cx="10972800" cy="246063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400">
                <a:solidFill>
                  <a:srgbClr val="D82435"/>
                </a:solidFill>
              </a:defRPr>
            </a:lvl1pPr>
            <a:lvl2pPr marL="457200" indent="0">
              <a:buNone/>
              <a:defRPr>
                <a:solidFill>
                  <a:srgbClr val="D82435"/>
                </a:solidFill>
              </a:defRPr>
            </a:lvl2pPr>
            <a:lvl3pPr marL="914400" indent="0">
              <a:buNone/>
              <a:defRPr>
                <a:solidFill>
                  <a:srgbClr val="D82435"/>
                </a:solidFill>
              </a:defRPr>
            </a:lvl3pPr>
            <a:lvl4pPr marL="1371600" indent="0">
              <a:buNone/>
              <a:defRPr>
                <a:solidFill>
                  <a:srgbClr val="D82435"/>
                </a:solidFill>
              </a:defRPr>
            </a:lvl4pPr>
            <a:lvl5pPr marL="1828800" indent="0">
              <a:buNone/>
              <a:defRPr>
                <a:solidFill>
                  <a:srgbClr val="D8243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603990"/>
            <a:ext cx="10972800" cy="915197"/>
          </a:xfrm>
        </p:spPr>
        <p:txBody>
          <a:bodyPr lIns="0" tIns="0" rIns="0" bIns="0" anchor="t" anchorCtr="0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23609"/>
            <a:ext cx="10972800" cy="437239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7508" y="6372357"/>
            <a:ext cx="302400" cy="428400"/>
          </a:xfrm>
        </p:spPr>
        <p:txBody>
          <a:bodyPr lIns="0" tIns="0" rIns="0" bIns="0">
            <a:noAutofit/>
          </a:bodyPr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4F3D2F4-C6F8-412F-BAB1-E98B2CBA273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id-ID"/>
          </a:p>
        </p:txBody>
      </p:sp>
      <p:sp>
        <p:nvSpPr>
          <p:cNvPr id="12" name="Rectangle 11"/>
          <p:cNvSpPr/>
          <p:nvPr userDrawn="1"/>
        </p:nvSpPr>
        <p:spPr>
          <a:xfrm>
            <a:off x="610502" y="6751320"/>
            <a:ext cx="415743" cy="10668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DCDE59A-B500-481C-9DDE-DEC3B6416D3F}"/>
              </a:ext>
            </a:extLst>
          </p:cNvPr>
          <p:cNvCxnSpPr>
            <a:cxnSpLocks/>
          </p:cNvCxnSpPr>
          <p:nvPr userDrawn="1"/>
        </p:nvCxnSpPr>
        <p:spPr>
          <a:xfrm flipH="1">
            <a:off x="605119" y="6269548"/>
            <a:ext cx="1097728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C591A58D-EECD-4A8B-96AD-1B87B81AABF0}"/>
              </a:ext>
            </a:extLst>
          </p:cNvPr>
          <p:cNvSpPr/>
          <p:nvPr userDrawn="1"/>
        </p:nvSpPr>
        <p:spPr>
          <a:xfrm>
            <a:off x="10047288" y="6202366"/>
            <a:ext cx="554037" cy="5714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1936" y="6243646"/>
            <a:ext cx="389838" cy="51251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7C04640-6450-458B-B313-68CB443CA750}"/>
              </a:ext>
            </a:extLst>
          </p:cNvPr>
          <p:cNvSpPr/>
          <p:nvPr userDrawn="1"/>
        </p:nvSpPr>
        <p:spPr>
          <a:xfrm>
            <a:off x="3070980" y="6517308"/>
            <a:ext cx="4932440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DC3949"/>
                </a:solidFill>
                <a:effectLst/>
                <a:uLnTx/>
                <a:uFillTx/>
                <a:latin typeface="Nexa Light"/>
                <a:ea typeface="+mn-ea"/>
                <a:cs typeface="+mn-cs"/>
              </a:rPr>
              <a:t>This document is confidential and any unauthorized use without the permission of Kafaa is prohibited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DB72DC9-94ED-EAE3-485F-3438933CCF5E}"/>
              </a:ext>
            </a:extLst>
          </p:cNvPr>
          <p:cNvGrpSpPr/>
          <p:nvPr userDrawn="1"/>
        </p:nvGrpSpPr>
        <p:grpSpPr>
          <a:xfrm>
            <a:off x="11171346" y="33888"/>
            <a:ext cx="970331" cy="805834"/>
            <a:chOff x="11171346" y="33888"/>
            <a:chExt cx="970331" cy="805834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CCC2697E-A54D-3117-0056-4FD1ECD5CD0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1171346" y="111332"/>
              <a:ext cx="0" cy="728390"/>
            </a:xfrm>
            <a:prstGeom prst="line">
              <a:avLst/>
            </a:prstGeom>
            <a:ln>
              <a:solidFill>
                <a:srgbClr val="BFBFBF">
                  <a:alpha val="74902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020C9B2-CB2E-1F56-5181-B26C7542D5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323755" y="33888"/>
              <a:ext cx="817922" cy="8058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8673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>
            <a:extLst>
              <a:ext uri="{FF2B5EF4-FFF2-40B4-BE49-F238E27FC236}">
                <a16:creationId xmlns:a16="http://schemas.microsoft.com/office/drawing/2014/main" id="{A20560E2-1F37-42DA-9158-939718964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192955"/>
            <a:ext cx="10044112" cy="607139"/>
          </a:xfrm>
        </p:spPr>
        <p:txBody>
          <a:bodyPr lIns="0" tIns="0" rIns="0" bIns="0" anchor="t">
            <a:noAutofit/>
          </a:bodyPr>
          <a:lstStyle>
            <a:lvl1pPr algn="just" rtl="0">
              <a:defRPr sz="2000">
                <a:latin typeface="+mj-lt"/>
                <a:cs typeface="HelveticaNeueLT Arabic 75 Bold" panose="020B0804020202020204" pitchFamily="34" charset="-7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CB4AD1E-1B28-47FD-82AA-2CEC2838613E}"/>
              </a:ext>
            </a:extLst>
          </p:cNvPr>
          <p:cNvGrpSpPr/>
          <p:nvPr userDrawn="1"/>
        </p:nvGrpSpPr>
        <p:grpSpPr>
          <a:xfrm>
            <a:off x="12257769" y="0"/>
            <a:ext cx="423201" cy="1564229"/>
            <a:chOff x="-1293057" y="2254"/>
            <a:chExt cx="1280160" cy="1564229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8985DAE-D349-48A7-8500-C2080888E46A}"/>
                </a:ext>
              </a:extLst>
            </p:cNvPr>
            <p:cNvSpPr txBox="1"/>
            <p:nvPr/>
          </p:nvSpPr>
          <p:spPr>
            <a:xfrm>
              <a:off x="-1293057" y="2254"/>
              <a:ext cx="1280160" cy="369332"/>
            </a:xfrm>
            <a:prstGeom prst="rect">
              <a:avLst/>
            </a:prstGeom>
            <a:solidFill>
              <a:srgbClr val="3F3F3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2AA7CB3-D5A0-4E8D-BD4E-94EE77CCC8BA}"/>
                </a:ext>
              </a:extLst>
            </p:cNvPr>
            <p:cNvSpPr txBox="1"/>
            <p:nvPr/>
          </p:nvSpPr>
          <p:spPr>
            <a:xfrm>
              <a:off x="-1293057" y="400553"/>
              <a:ext cx="1280160" cy="369332"/>
            </a:xfrm>
            <a:prstGeom prst="rect">
              <a:avLst/>
            </a:prstGeom>
            <a:solidFill>
              <a:srgbClr val="6F6F6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C2990D7-7BF8-4F91-B75B-7ADEAD07167E}"/>
                </a:ext>
              </a:extLst>
            </p:cNvPr>
            <p:cNvSpPr txBox="1"/>
            <p:nvPr/>
          </p:nvSpPr>
          <p:spPr>
            <a:xfrm>
              <a:off x="-1293057" y="798852"/>
              <a:ext cx="1280160" cy="369332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33B8E34-1154-4560-9C0A-1DB35A6241D5}"/>
                </a:ext>
              </a:extLst>
            </p:cNvPr>
            <p:cNvSpPr txBox="1"/>
            <p:nvPr/>
          </p:nvSpPr>
          <p:spPr>
            <a:xfrm>
              <a:off x="-1293057" y="1197151"/>
              <a:ext cx="1280160" cy="369332"/>
            </a:xfrm>
            <a:prstGeom prst="rect">
              <a:avLst/>
            </a:prstGeom>
            <a:solidFill>
              <a:srgbClr val="D82435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0D856EE-5280-4804-D09B-16F49456EE19}"/>
              </a:ext>
            </a:extLst>
          </p:cNvPr>
          <p:cNvCxnSpPr>
            <a:cxnSpLocks/>
          </p:cNvCxnSpPr>
          <p:nvPr userDrawn="1"/>
        </p:nvCxnSpPr>
        <p:spPr>
          <a:xfrm>
            <a:off x="1563460" y="6534543"/>
            <a:ext cx="94202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6CE1CAA-FF8B-1F1B-E4F6-7A3125F009F6}"/>
              </a:ext>
            </a:extLst>
          </p:cNvPr>
          <p:cNvSpPr/>
          <p:nvPr userDrawn="1"/>
        </p:nvSpPr>
        <p:spPr>
          <a:xfrm>
            <a:off x="11219472" y="6410325"/>
            <a:ext cx="629628" cy="248436"/>
          </a:xfrm>
          <a:prstGeom prst="roundRect">
            <a:avLst>
              <a:gd name="adj" fmla="val 50000"/>
            </a:avLst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20EDA7-2865-227E-FD88-261AD52F7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71881" y="6448505"/>
            <a:ext cx="358756" cy="172076"/>
          </a:xfrm>
        </p:spPr>
        <p:txBody>
          <a:bodyPr lIns="0" tIns="0" rIns="0" bIns="0" anchor="ctr"/>
          <a:lstStyle>
            <a:lvl1pPr algn="ctr">
              <a:defRPr sz="1000">
                <a:solidFill>
                  <a:schemeClr val="bg1"/>
                </a:solidFill>
                <a:latin typeface="HelveticaNeueLT Arabic 75 Bold" panose="020B0804020202020204" pitchFamily="34" charset="-78"/>
                <a:ea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58B19A0-0BCB-D5B1-D4A6-1F29DD8E94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6315376"/>
            <a:ext cx="1032856" cy="43833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53D92C3-9CB5-3BC4-C8F3-2613A19460C1}"/>
              </a:ext>
            </a:extLst>
          </p:cNvPr>
          <p:cNvSpPr/>
          <p:nvPr userDrawn="1"/>
        </p:nvSpPr>
        <p:spPr>
          <a:xfrm>
            <a:off x="2744621" y="6589241"/>
            <a:ext cx="670275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>
                <a:solidFill>
                  <a:schemeClr val="tx1">
                    <a:lumMod val="75000"/>
                  </a:schemeClr>
                </a:solidFill>
                <a:latin typeface="Nexa Light" panose="02000000000000000000" pitchFamily="50" charset="0"/>
              </a:rPr>
              <a:t>This document is confidential and any unauthorized use without the permission of Kafaa is prohibited.	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BC8FB95-F690-2B1B-6895-63241CA96B37}"/>
              </a:ext>
            </a:extLst>
          </p:cNvPr>
          <p:cNvGrpSpPr/>
          <p:nvPr userDrawn="1"/>
        </p:nvGrpSpPr>
        <p:grpSpPr>
          <a:xfrm>
            <a:off x="11171346" y="33888"/>
            <a:ext cx="970331" cy="805834"/>
            <a:chOff x="11171346" y="33888"/>
            <a:chExt cx="970331" cy="805834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3D67C98-A4F8-0283-6821-4CF4F08697FE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1171346" y="111332"/>
              <a:ext cx="0" cy="728390"/>
            </a:xfrm>
            <a:prstGeom prst="line">
              <a:avLst/>
            </a:prstGeom>
            <a:ln>
              <a:solidFill>
                <a:srgbClr val="BFBFBF">
                  <a:alpha val="74902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C763A3A-4589-E0C6-9836-244365EA56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323755" y="33888"/>
              <a:ext cx="817922" cy="8058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94388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5CB4AD1E-1B28-47FD-82AA-2CEC2838613E}"/>
              </a:ext>
            </a:extLst>
          </p:cNvPr>
          <p:cNvGrpSpPr/>
          <p:nvPr userDrawn="1"/>
        </p:nvGrpSpPr>
        <p:grpSpPr>
          <a:xfrm>
            <a:off x="12257769" y="0"/>
            <a:ext cx="423201" cy="1564229"/>
            <a:chOff x="-1293057" y="2254"/>
            <a:chExt cx="1280160" cy="1564229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8985DAE-D349-48A7-8500-C2080888E46A}"/>
                </a:ext>
              </a:extLst>
            </p:cNvPr>
            <p:cNvSpPr txBox="1"/>
            <p:nvPr/>
          </p:nvSpPr>
          <p:spPr>
            <a:xfrm>
              <a:off x="-1293057" y="2254"/>
              <a:ext cx="1280160" cy="369332"/>
            </a:xfrm>
            <a:prstGeom prst="rect">
              <a:avLst/>
            </a:prstGeom>
            <a:solidFill>
              <a:srgbClr val="3F3F3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2AA7CB3-D5A0-4E8D-BD4E-94EE77CCC8BA}"/>
                </a:ext>
              </a:extLst>
            </p:cNvPr>
            <p:cNvSpPr txBox="1"/>
            <p:nvPr/>
          </p:nvSpPr>
          <p:spPr>
            <a:xfrm>
              <a:off x="-1293057" y="400553"/>
              <a:ext cx="1280160" cy="369332"/>
            </a:xfrm>
            <a:prstGeom prst="rect">
              <a:avLst/>
            </a:prstGeom>
            <a:solidFill>
              <a:srgbClr val="6F6F6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C2990D7-7BF8-4F91-B75B-7ADEAD07167E}"/>
                </a:ext>
              </a:extLst>
            </p:cNvPr>
            <p:cNvSpPr txBox="1"/>
            <p:nvPr/>
          </p:nvSpPr>
          <p:spPr>
            <a:xfrm>
              <a:off x="-1293057" y="798852"/>
              <a:ext cx="1280160" cy="369332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33B8E34-1154-4560-9C0A-1DB35A6241D5}"/>
                </a:ext>
              </a:extLst>
            </p:cNvPr>
            <p:cNvSpPr txBox="1"/>
            <p:nvPr/>
          </p:nvSpPr>
          <p:spPr>
            <a:xfrm>
              <a:off x="-1293057" y="1197151"/>
              <a:ext cx="1280160" cy="369332"/>
            </a:xfrm>
            <a:prstGeom prst="rect">
              <a:avLst/>
            </a:prstGeom>
            <a:solidFill>
              <a:srgbClr val="D82435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9293E13-D590-12FA-4DF4-622953DBEEAA}"/>
              </a:ext>
            </a:extLst>
          </p:cNvPr>
          <p:cNvCxnSpPr>
            <a:cxnSpLocks/>
          </p:cNvCxnSpPr>
          <p:nvPr userDrawn="1"/>
        </p:nvCxnSpPr>
        <p:spPr>
          <a:xfrm>
            <a:off x="1563460" y="6534543"/>
            <a:ext cx="94202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0E17CF7-4906-9785-4555-1D846480E209}"/>
              </a:ext>
            </a:extLst>
          </p:cNvPr>
          <p:cNvSpPr/>
          <p:nvPr userDrawn="1"/>
        </p:nvSpPr>
        <p:spPr>
          <a:xfrm>
            <a:off x="11219472" y="6410325"/>
            <a:ext cx="629628" cy="248436"/>
          </a:xfrm>
          <a:prstGeom prst="roundRect">
            <a:avLst>
              <a:gd name="adj" fmla="val 50000"/>
            </a:avLst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0B2929D-3E04-4CB6-F651-8FB140D86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71881" y="6448505"/>
            <a:ext cx="358756" cy="172076"/>
          </a:xfrm>
        </p:spPr>
        <p:txBody>
          <a:bodyPr lIns="0" tIns="0" rIns="0" bIns="0" anchor="ctr"/>
          <a:lstStyle>
            <a:lvl1pPr algn="ctr">
              <a:defRPr sz="1000">
                <a:solidFill>
                  <a:schemeClr val="bg1"/>
                </a:solidFill>
                <a:latin typeface="HelveticaNeueLT Arabic 75 Bold" panose="020B0804020202020204" pitchFamily="34" charset="-78"/>
                <a:ea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EFCD20B-E634-84F1-12D5-5EF684863F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6315376"/>
            <a:ext cx="1032856" cy="43833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1C0DEE3-B46C-7F9D-DFE9-2051D65DEE19}"/>
              </a:ext>
            </a:extLst>
          </p:cNvPr>
          <p:cNvSpPr/>
          <p:nvPr userDrawn="1"/>
        </p:nvSpPr>
        <p:spPr>
          <a:xfrm>
            <a:off x="2744621" y="6589241"/>
            <a:ext cx="670275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>
                <a:solidFill>
                  <a:schemeClr val="tx1">
                    <a:lumMod val="75000"/>
                  </a:schemeClr>
                </a:solidFill>
                <a:latin typeface="Nexa Light" panose="02000000000000000000" pitchFamily="50" charset="0"/>
              </a:rPr>
              <a:t>This document is confidential and any unauthorized use without the permission of Kafaa is prohibited.	</a:t>
            </a:r>
          </a:p>
        </p:txBody>
      </p:sp>
    </p:spTree>
    <p:extLst>
      <p:ext uri="{BB962C8B-B14F-4D97-AF65-F5344CB8AC3E}">
        <p14:creationId xmlns:p14="http://schemas.microsoft.com/office/powerpoint/2010/main" val="3550886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C274535-73D3-44DF-9B86-B05C2CDB1408}"/>
              </a:ext>
            </a:extLst>
          </p:cNvPr>
          <p:cNvSpPr/>
          <p:nvPr userDrawn="1"/>
        </p:nvSpPr>
        <p:spPr>
          <a:xfrm>
            <a:off x="-558" y="-2"/>
            <a:ext cx="6672701" cy="6865157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2721CE1-CF69-4959-9EEF-F7D4C58845C5}"/>
              </a:ext>
            </a:extLst>
          </p:cNvPr>
          <p:cNvGrpSpPr/>
          <p:nvPr userDrawn="1"/>
        </p:nvGrpSpPr>
        <p:grpSpPr>
          <a:xfrm>
            <a:off x="3632623" y="-1"/>
            <a:ext cx="3053808" cy="6865155"/>
            <a:chOff x="3901439" y="-1"/>
            <a:chExt cx="3074126" cy="6148252"/>
          </a:xfrm>
          <a:solidFill>
            <a:schemeClr val="bg1"/>
          </a:solidFill>
        </p:grpSpPr>
        <p:sp>
          <p:nvSpPr>
            <p:cNvPr id="17" name="Right Triangle 16">
              <a:extLst>
                <a:ext uri="{FF2B5EF4-FFF2-40B4-BE49-F238E27FC236}">
                  <a16:creationId xmlns:a16="http://schemas.microsoft.com/office/drawing/2014/main" id="{1AC78F6F-6044-42E3-84C0-AFF56347AE03}"/>
                </a:ext>
              </a:extLst>
            </p:cNvPr>
            <p:cNvSpPr/>
            <p:nvPr/>
          </p:nvSpPr>
          <p:spPr>
            <a:xfrm rot="10800000">
              <a:off x="3901439" y="-1"/>
              <a:ext cx="3074126" cy="3074126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Triangle 17">
              <a:extLst>
                <a:ext uri="{FF2B5EF4-FFF2-40B4-BE49-F238E27FC236}">
                  <a16:creationId xmlns:a16="http://schemas.microsoft.com/office/drawing/2014/main" id="{9649F8BA-7AD4-4091-8E53-8DE8DF669D99}"/>
                </a:ext>
              </a:extLst>
            </p:cNvPr>
            <p:cNvSpPr/>
            <p:nvPr/>
          </p:nvSpPr>
          <p:spPr>
            <a:xfrm rot="10800000" flipV="1">
              <a:off x="3901439" y="3074125"/>
              <a:ext cx="3074126" cy="3074126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BA06E68F-D1C1-4363-A795-D9B478364860}"/>
              </a:ext>
            </a:extLst>
          </p:cNvPr>
          <p:cNvSpPr/>
          <p:nvPr userDrawn="1"/>
        </p:nvSpPr>
        <p:spPr>
          <a:xfrm rot="10800000">
            <a:off x="11155524" y="-3"/>
            <a:ext cx="1036476" cy="1166951"/>
          </a:xfrm>
          <a:prstGeom prst="rt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0B9A9EE7-187D-46E8-8F64-65A3D335DB5C}"/>
              </a:ext>
            </a:extLst>
          </p:cNvPr>
          <p:cNvSpPr/>
          <p:nvPr userDrawn="1"/>
        </p:nvSpPr>
        <p:spPr>
          <a:xfrm>
            <a:off x="3849189" y="4907257"/>
            <a:ext cx="2656114" cy="1957898"/>
          </a:xfrm>
          <a:prstGeom prst="parallelogram">
            <a:avLst>
              <a:gd name="adj" fmla="val 8701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1F755AA-9492-42A1-B922-2FCD082E5AE6}"/>
              </a:ext>
            </a:extLst>
          </p:cNvPr>
          <p:cNvCxnSpPr/>
          <p:nvPr userDrawn="1"/>
        </p:nvCxnSpPr>
        <p:spPr>
          <a:xfrm flipH="1">
            <a:off x="6667955" y="5410389"/>
            <a:ext cx="509711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B175CC6-4266-476E-BF02-8944D6BA64ED}"/>
              </a:ext>
            </a:extLst>
          </p:cNvPr>
          <p:cNvCxnSpPr/>
          <p:nvPr userDrawn="1"/>
        </p:nvCxnSpPr>
        <p:spPr>
          <a:xfrm flipH="1" flipV="1">
            <a:off x="1576251" y="0"/>
            <a:ext cx="3196046" cy="3196046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162A087-C706-4646-9EF4-5FAC225A94FB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923985" y="3579976"/>
            <a:ext cx="2992135" cy="2992135"/>
          </a:xfrm>
          <a:prstGeom prst="line">
            <a:avLst/>
          </a:prstGeom>
          <a:ln>
            <a:solidFill>
              <a:schemeClr val="bg1">
                <a:alpha val="6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>
            <a:extLst>
              <a:ext uri="{FF2B5EF4-FFF2-40B4-BE49-F238E27FC236}">
                <a16:creationId xmlns:a16="http://schemas.microsoft.com/office/drawing/2014/main" id="{393444D3-CA2B-42A5-8CC0-E34A495421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08072" y="2857237"/>
            <a:ext cx="4756994" cy="898708"/>
          </a:xfrm>
          <a:noFill/>
        </p:spPr>
        <p:txBody>
          <a:bodyPr wrap="square" lIns="0" tIns="0" rIns="0" bIns="0" rtlCol="0">
            <a:spAutoFit/>
          </a:bodyPr>
          <a:lstStyle>
            <a:lvl1pPr algn="l" rtl="0">
              <a:defRPr lang="en-US" sz="3200" b="1">
                <a:solidFill>
                  <a:schemeClr val="tx1"/>
                </a:solidFill>
                <a:latin typeface="+mj-lt"/>
                <a:ea typeface="+mn-ea"/>
                <a:cs typeface="HelveticaNeueLT Arabic 75 Bold" panose="020B0804020202020204" pitchFamily="34" charset="-78"/>
              </a:defRPr>
            </a:lvl1pPr>
          </a:lstStyle>
          <a:p>
            <a:pPr marL="0" lvl="0" algn="r" rtl="1"/>
            <a:r>
              <a:rPr lang="en-US"/>
              <a:t>Click to edit Master title styl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CC1C8F3-2CCB-4004-A7A5-68D77455C927}"/>
              </a:ext>
            </a:extLst>
          </p:cNvPr>
          <p:cNvSpPr txBox="1"/>
          <p:nvPr userDrawn="1"/>
        </p:nvSpPr>
        <p:spPr>
          <a:xfrm rot="2700000">
            <a:off x="1617701" y="2126998"/>
            <a:ext cx="2496363" cy="24963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66858D4-963B-4F21-814B-F45E97FBA6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4678" y="2947536"/>
            <a:ext cx="1932821" cy="889796"/>
          </a:xfrm>
          <a:prstGeom prst="rect">
            <a:avLst/>
          </a:prstGeom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EF10690-7BAA-4DE5-B2DD-11F65F04F248}"/>
              </a:ext>
            </a:extLst>
          </p:cNvPr>
          <p:cNvCxnSpPr/>
          <p:nvPr userDrawn="1"/>
        </p:nvCxnSpPr>
        <p:spPr>
          <a:xfrm flipH="1">
            <a:off x="6717605" y="2278008"/>
            <a:ext cx="509711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7BABBEBA-DA2A-4ABF-9E9F-D5C7B2E3782E}"/>
              </a:ext>
            </a:extLst>
          </p:cNvPr>
          <p:cNvSpPr txBox="1"/>
          <p:nvPr userDrawn="1"/>
        </p:nvSpPr>
        <p:spPr>
          <a:xfrm>
            <a:off x="9880314" y="4766240"/>
            <a:ext cx="1958552" cy="461655"/>
          </a:xfrm>
          <a:prstGeom prst="roundRect">
            <a:avLst>
              <a:gd name="adj" fmla="val 5000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NeueLT Arabic 75 Bold" panose="020B0804020202020204" pitchFamily="34" charset="-78"/>
              <a:ea typeface="+mn-ea"/>
              <a:cs typeface="HelveticaNeueLT Arabic 75 Bold" panose="020B0804020202020204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6875244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45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Left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165F8E0C-CF28-381D-14B6-F447D246150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8243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62A742F-8631-47CC-B446-1A8F8EDA9BBA}"/>
              </a:ext>
            </a:extLst>
          </p:cNvPr>
          <p:cNvCxnSpPr>
            <a:cxnSpLocks/>
          </p:cNvCxnSpPr>
          <p:nvPr userDrawn="1"/>
        </p:nvCxnSpPr>
        <p:spPr>
          <a:xfrm>
            <a:off x="1171575" y="6534543"/>
            <a:ext cx="94202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2B8B1CF-033A-4BE7-9D9A-A3B7B169AE80}"/>
              </a:ext>
            </a:extLst>
          </p:cNvPr>
          <p:cNvSpPr/>
          <p:nvPr userDrawn="1"/>
        </p:nvSpPr>
        <p:spPr>
          <a:xfrm>
            <a:off x="342901" y="6410325"/>
            <a:ext cx="629628" cy="248436"/>
          </a:xfrm>
          <a:prstGeom prst="roundRect">
            <a:avLst>
              <a:gd name="adj" fmla="val 50000"/>
            </a:avLst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NeueLT Arabic 75 Bold" panose="020B0804020202020204" pitchFamily="34" charset="-78"/>
            </a:endParaRP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98504DD-FBCF-4E0F-83C8-D26D6DF31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10" y="6448505"/>
            <a:ext cx="358756" cy="172076"/>
          </a:xfrm>
        </p:spPr>
        <p:txBody>
          <a:bodyPr lIns="0" tIns="0" rIns="0" bIns="0" anchor="ctr"/>
          <a:lstStyle>
            <a:lvl1pPr algn="ctr">
              <a:defRPr sz="1000">
                <a:solidFill>
                  <a:schemeClr val="bg1"/>
                </a:solidFill>
                <a:latin typeface="HelveticaNeueLT Arabic 75 Bold" panose="020B0804020202020204" pitchFamily="34" charset="-78"/>
                <a:ea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399463-470B-4212-A8C9-E0FB395B0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7208" y="6315376"/>
            <a:ext cx="1032856" cy="43833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61C8DC0-9E07-41E6-A5E1-3C9AE9978E61}"/>
              </a:ext>
            </a:extLst>
          </p:cNvPr>
          <p:cNvSpPr/>
          <p:nvPr userDrawn="1"/>
        </p:nvSpPr>
        <p:spPr>
          <a:xfrm>
            <a:off x="4323286" y="6536118"/>
            <a:ext cx="35454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800" b="0" i="0" u="none" strike="noStrike" kern="1200" cap="none" spc="0" normalizeH="0" baseline="0" noProof="0">
                <a:ln>
                  <a:noFill/>
                </a:ln>
                <a:solidFill>
                  <a:srgbClr val="D82435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rPr>
              <a:t>هذه الوثيقة سرية ويحظر أي استخدام غير مصرح به بدون إذن من شركة كفاءة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D82435"/>
              </a:solidFill>
              <a:effectLst/>
              <a:uLnTx/>
              <a:uFillTx/>
              <a:latin typeface="HelveticaNeueLT Arabic 55 Roman" panose="020B0604020202020204" pitchFamily="34" charset="-78"/>
              <a:ea typeface="+mn-ea"/>
              <a:cs typeface="HelveticaNeueLT Arabic 55 Roman" panose="020B0604020202020204" pitchFamily="34" charset="-78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0F76CAE-D564-9475-A8FB-A5D2BA76D1CD}"/>
              </a:ext>
            </a:extLst>
          </p:cNvPr>
          <p:cNvGrpSpPr/>
          <p:nvPr userDrawn="1"/>
        </p:nvGrpSpPr>
        <p:grpSpPr>
          <a:xfrm>
            <a:off x="11171346" y="33888"/>
            <a:ext cx="970331" cy="805834"/>
            <a:chOff x="11171346" y="33888"/>
            <a:chExt cx="970331" cy="805834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4A73685-E4AA-00C6-3B57-9F5ADFD5001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1171346" y="111332"/>
              <a:ext cx="0" cy="728390"/>
            </a:xfrm>
            <a:prstGeom prst="line">
              <a:avLst/>
            </a:prstGeom>
            <a:ln>
              <a:solidFill>
                <a:srgbClr val="BFBFBF">
                  <a:alpha val="74902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87C3ECF-2AA8-93F0-AF5F-8E1CE49B0CE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323755" y="33888"/>
              <a:ext cx="817922" cy="8058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5682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16">
          <p15:clr>
            <a:srgbClr val="FBAE40"/>
          </p15:clr>
        </p15:guide>
        <p15:guide id="6" pos="746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ght 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CEF01BE-9E42-4FE5-9487-09C60C3184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7208" y="6315376"/>
            <a:ext cx="1032856" cy="43833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BFC63C32-5A1A-432C-93F6-369417C4E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350121"/>
            <a:ext cx="10325099" cy="348380"/>
          </a:xfrm>
        </p:spPr>
        <p:txBody>
          <a:bodyPr lIns="0" tIns="0" rIns="0" bIns="0" anchor="t">
            <a:noAutofit/>
          </a:bodyPr>
          <a:lstStyle>
            <a:lvl1pPr algn="r" rtl="1">
              <a:defRPr sz="2400">
                <a:latin typeface="HelveticaNeueLT Arabic 75 Bold" panose="020B0804020202020204" pitchFamily="34" charset="-78"/>
                <a:cs typeface="HelveticaNeueLT Arabic 75 Bold" panose="020B0804020202020204" pitchFamily="34" charset="-7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62A742F-8631-47CC-B446-1A8F8EDA9BBA}"/>
              </a:ext>
            </a:extLst>
          </p:cNvPr>
          <p:cNvCxnSpPr>
            <a:cxnSpLocks/>
          </p:cNvCxnSpPr>
          <p:nvPr userDrawn="1"/>
        </p:nvCxnSpPr>
        <p:spPr>
          <a:xfrm>
            <a:off x="1171575" y="6534543"/>
            <a:ext cx="94202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2B8B1CF-033A-4BE7-9D9A-A3B7B169AE80}"/>
              </a:ext>
            </a:extLst>
          </p:cNvPr>
          <p:cNvSpPr/>
          <p:nvPr userDrawn="1"/>
        </p:nvSpPr>
        <p:spPr>
          <a:xfrm>
            <a:off x="342901" y="6410325"/>
            <a:ext cx="629628" cy="248436"/>
          </a:xfrm>
          <a:prstGeom prst="roundRect">
            <a:avLst>
              <a:gd name="adj" fmla="val 50000"/>
            </a:avLst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98504DD-FBCF-4E0F-83C8-D26D6DF31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10" y="6448505"/>
            <a:ext cx="358756" cy="172076"/>
          </a:xfrm>
        </p:spPr>
        <p:txBody>
          <a:bodyPr lIns="0" tIns="0" rIns="0" bIns="0" anchor="ctr"/>
          <a:lstStyle>
            <a:lvl1pPr algn="ctr">
              <a:defRPr sz="1000">
                <a:solidFill>
                  <a:schemeClr val="bg1"/>
                </a:solidFill>
                <a:latin typeface="+mj-lt"/>
                <a:ea typeface="Nexa Light" charset="0"/>
                <a:cs typeface="Nexa Light" charset="0"/>
              </a:defRPr>
            </a:lvl1pPr>
          </a:lstStyle>
          <a:p>
            <a:fld id="{E60EF5E4-35CF-4C29-B9F8-D683A03DA2A9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737214E3-882E-492B-9026-25A02187F19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1045029"/>
            <a:ext cx="11506200" cy="5065485"/>
          </a:xfrm>
        </p:spPr>
        <p:txBody>
          <a:bodyPr lIns="0" tIns="0" rIns="0" bIns="0">
            <a:normAutofit/>
          </a:bodyPr>
          <a:lstStyle>
            <a:lvl1pPr marL="228600" indent="-228600" algn="r" rtl="1">
              <a:buFont typeface="Verdana" panose="020B0604030504040204" pitchFamily="34" charset="0"/>
              <a:buChar char="‹"/>
              <a:defRPr sz="1600">
                <a:latin typeface="+mn-lt"/>
              </a:defRPr>
            </a:lvl1pPr>
            <a:lvl2pPr marL="685800" indent="-228600" algn="r" rtl="1">
              <a:buFont typeface="Verdana" panose="020B0604030504040204" pitchFamily="34" charset="0"/>
              <a:buChar char="‹"/>
              <a:defRPr sz="1400">
                <a:latin typeface="+mn-lt"/>
              </a:defRPr>
            </a:lvl2pPr>
            <a:lvl3pPr marL="1143000" indent="-228600" algn="r" rtl="1">
              <a:buFont typeface="Verdana" panose="020B0604030504040204" pitchFamily="34" charset="0"/>
              <a:buChar char="‹"/>
              <a:defRPr sz="1200">
                <a:latin typeface="+mn-lt"/>
              </a:defRPr>
            </a:lvl3pPr>
            <a:lvl4pPr marL="1600200" indent="-228600" algn="r" rtl="1">
              <a:buFont typeface="Verdana" panose="020B0604030504040204" pitchFamily="34" charset="0"/>
              <a:buChar char="‹"/>
              <a:defRPr sz="1100">
                <a:latin typeface="+mn-lt"/>
              </a:defRPr>
            </a:lvl4pPr>
            <a:lvl5pPr marL="2057400" indent="-228600" algn="r" rtl="1">
              <a:buFont typeface="Verdana" panose="020B0604030504040204" pitchFamily="34" charset="0"/>
              <a:buChar char="‹"/>
              <a:defRPr sz="11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81A5B5F-D0D2-79DD-BDEE-62BE7A466A48}"/>
              </a:ext>
            </a:extLst>
          </p:cNvPr>
          <p:cNvSpPr/>
          <p:nvPr userDrawn="1"/>
        </p:nvSpPr>
        <p:spPr>
          <a:xfrm>
            <a:off x="4323286" y="6583743"/>
            <a:ext cx="35454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>
              <a:defRPr/>
            </a:pPr>
            <a:r>
              <a:rPr lang="ar-SA" sz="800">
                <a:solidFill>
                  <a:srgbClr val="D82435"/>
                </a:solidFill>
                <a:latin typeface="HelveticaNeueLT Arabic 75 Bold" panose="020B0804020202020204" pitchFamily="34" charset="-78"/>
                <a:cs typeface="HelveticaNeueLT Arabic 75 Bold" panose="020B0804020202020204" pitchFamily="34" charset="-78"/>
              </a:rPr>
              <a:t>هذه الوثيقة سرية ويحظر أي استخدام غير مصرح به بدون إذن من شركة كفاءة</a:t>
            </a:r>
            <a:endParaRPr lang="en-US" sz="800">
              <a:solidFill>
                <a:srgbClr val="D82435"/>
              </a:solidFill>
              <a:latin typeface="HelveticaNeueLT Arabic 75 Bold" panose="020B0804020202020204" pitchFamily="34" charset="-78"/>
              <a:cs typeface="HelveticaNeueLT Arabic 75 Bold" panose="020B0804020202020204" pitchFamily="34" charset="-78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833E875-22CD-EF5E-F253-04463A8F27A5}"/>
              </a:ext>
            </a:extLst>
          </p:cNvPr>
          <p:cNvGrpSpPr/>
          <p:nvPr userDrawn="1"/>
        </p:nvGrpSpPr>
        <p:grpSpPr>
          <a:xfrm>
            <a:off x="11171346" y="33888"/>
            <a:ext cx="970331" cy="805834"/>
            <a:chOff x="11171346" y="33888"/>
            <a:chExt cx="970331" cy="805834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20A8BE70-C880-9557-A6AC-EA7349F072D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1171346" y="111332"/>
              <a:ext cx="0" cy="728390"/>
            </a:xfrm>
            <a:prstGeom prst="line">
              <a:avLst/>
            </a:prstGeom>
            <a:ln>
              <a:solidFill>
                <a:srgbClr val="BFBFBF">
                  <a:alpha val="74902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337BBDA-1277-00CB-8D19-2C9603609C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323755" y="33888"/>
              <a:ext cx="817922" cy="8058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3804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16">
          <p15:clr>
            <a:srgbClr val="FBAE40"/>
          </p15:clr>
        </p15:guide>
        <p15:guide id="6" pos="746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7AC9F7E-87E2-424E-AB63-E689D5925D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82372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83" imgH="384" progId="TCLayout.ActiveDocument.1">
                  <p:embed/>
                </p:oleObj>
              </mc:Choice>
              <mc:Fallback>
                <p:oleObj name="think-cell Slide" r:id="rId11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7AC9F7E-87E2-424E-AB63-E689D5925D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EB2A2ED-18EF-4FE8-B088-B0B4D3E9A8E6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824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Nexa Bold" panose="02000000000000000000" pitchFamily="50" charset="0"/>
              <a:ea typeface="+mj-ea"/>
              <a:cs typeface="+mj-cs"/>
              <a:sym typeface="Nexa Bold" panose="020000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714501"/>
            <a:ext cx="10972800" cy="43814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217D7C-AA73-41B0-8DE9-86615278FE1A}" type="datetime1">
              <a:rPr lang="en-GB" smtClean="0"/>
              <a:t>27/08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fld id="{14F3D2F4-C6F8-412F-BAB1-E98B2CBA273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3235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Tx/>
        <a:buChar char="›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Char char="›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Char char="›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Char char="›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Char char="›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F26B43"/>
          </p15:clr>
        </p15:guide>
        <p15:guide id="2" orient="horz" pos="1080">
          <p15:clr>
            <a:srgbClr val="F26B43"/>
          </p15:clr>
        </p15:guide>
        <p15:guide id="3" pos="7296">
          <p15:clr>
            <a:srgbClr val="F26B43"/>
          </p15:clr>
        </p15:guide>
        <p15:guide id="4" orient="horz" pos="3840">
          <p15:clr>
            <a:srgbClr val="F26B43"/>
          </p15:clr>
        </p15:guide>
        <p15:guide id="5" orient="horz" pos="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7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.xml"/><Relationship Id="rId7" Type="http://schemas.openxmlformats.org/officeDocument/2006/relationships/oleObject" Target="../embeddings/oleObject3.bin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BEA6F-F155-70A5-5A62-8CDB76A72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650B802-3E37-E668-7E9D-E2CFA94030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50B802-3E37-E668-7E9D-E2CFA9403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DF7F1B92-FA81-C0E6-AFD3-AC6DA67C21D8}"/>
              </a:ext>
            </a:extLst>
          </p:cNvPr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 lIns="91440" rIns="91440" bIns="45720">
            <a:normAutofit/>
          </a:bodyPr>
          <a:lstStyle/>
          <a:p>
            <a:r>
              <a:rPr lang="en-US" sz="4400" b="1" noProof="1">
                <a:latin typeface="Aptos" panose="020B0004020202020204" pitchFamily="34" charset="0"/>
              </a:rPr>
              <a:t>Title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4F2A9384-976C-2F64-4D60-C63A48A2C7F1}"/>
              </a:ext>
            </a:extLst>
          </p:cNvPr>
          <p:cNvSpPr>
            <a:spLocks noGrp="1"/>
          </p:cNvSpPr>
          <p:nvPr>
            <p:ph type="subTitle" idx="4294967295"/>
            <p:custDataLst>
              <p:tags r:id="rId4"/>
            </p:custDataLst>
          </p:nvPr>
        </p:nvSpPr>
        <p:spPr>
          <a:xfrm>
            <a:off x="10160000" y="4856691"/>
            <a:ext cx="7010400" cy="593725"/>
          </a:xfrm>
        </p:spPr>
        <p:txBody>
          <a:bodyPr>
            <a:normAutofit/>
          </a:bodyPr>
          <a:lstStyle/>
          <a:p>
            <a:r>
              <a:rPr lang="en-US" sz="1600" noProof="1">
                <a:solidFill>
                  <a:schemeClr val="bg1"/>
                </a:solidFill>
                <a:latin typeface="Aptos Light" panose="020B0004020202020204" pitchFamily="34" charset="0"/>
              </a:rPr>
              <a:t>Da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19607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C1EC31-091F-CE9D-0027-4B7FBAA1EE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2B8ADCE0-D423-4F2C-9488-34F5B39A32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8ADCE0-D423-4F2C-9488-34F5B39A3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D3C2F09E-87CE-B6A5-5039-CF03BBC99C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22C274-3D99-4A24-ADE9-DD3F36DBA14D}" type="slidenum">
              <a:rPr lang="en-US" noProof="1" dirty="0" smtClean="0"/>
              <a:t>2</a:t>
            </a:fld>
            <a:endParaRPr lang="en-US" noProof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E9D6EE-734B-EBF4-C923-D77DB120D5DA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258935" y="576504"/>
            <a:ext cx="11274425" cy="493713"/>
          </a:xfr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 noProof="1"/>
              <a:t>Slide Tit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9FAB9E88-62AE-6709-5B71-E57D9951E00D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220135" y="1084263"/>
            <a:ext cx="11274425" cy="622300"/>
          </a:xfrm>
        </p:spPr>
        <p:txBody>
          <a:bodyPr vert="horz" lIns="0" tIns="91440" rIns="45720" bIns="4572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250" noProof="1">
                <a:solidFill>
                  <a:schemeClr val="tx2"/>
                </a:solidFill>
              </a:rPr>
              <a:t>Mess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CBA5C4A-46E1-BF76-C405-131F85EB8E7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57199" y="340715"/>
            <a:ext cx="11274425" cy="207353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12487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>
            <a:extLst>
              <a:ext uri="{FF2B5EF4-FFF2-40B4-BE49-F238E27FC236}">
                <a16:creationId xmlns:a16="http://schemas.microsoft.com/office/drawing/2014/main" id="{E3BBDC97-5034-4E5E-8866-6E4C1DD85E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97" r="2682" b="5259"/>
          <a:stretch/>
        </p:blipFill>
        <p:spPr bwMode="auto">
          <a:xfrm flipH="1"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D9330B95-270E-4E82-A022-E54406FA36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D9330B95-270E-4E82-A022-E54406FA36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DAF116A-21C3-4DD8-B421-DBDBBCEA44BE}"/>
              </a:ext>
            </a:extLst>
          </p:cNvPr>
          <p:cNvSpPr/>
          <p:nvPr/>
        </p:nvSpPr>
        <p:spPr>
          <a:xfrm>
            <a:off x="0" y="-16266"/>
            <a:ext cx="12192000" cy="6874265"/>
          </a:xfrm>
          <a:prstGeom prst="rect">
            <a:avLst/>
          </a:prstGeom>
          <a:solidFill>
            <a:schemeClr val="tx2">
              <a:lumMod val="5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LT Arabic 55 Roman"/>
              <a:ea typeface="+mn-ea"/>
              <a:cs typeface="HelveticaNeueLT Arabic 45 Light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86DFA08A-F15E-4BCB-8727-F100CD3E5D43}"/>
              </a:ext>
            </a:extLst>
          </p:cNvPr>
          <p:cNvSpPr/>
          <p:nvPr/>
        </p:nvSpPr>
        <p:spPr>
          <a:xfrm rot="13485463">
            <a:off x="-43679" y="-2124266"/>
            <a:ext cx="3632525" cy="5832285"/>
          </a:xfrm>
          <a:custGeom>
            <a:avLst/>
            <a:gdLst>
              <a:gd name="connsiteX0" fmla="*/ 3632525 w 3632525"/>
              <a:gd name="connsiteY0" fmla="*/ 2230352 h 5832285"/>
              <a:gd name="connsiteX1" fmla="*/ 0 w 3632525"/>
              <a:gd name="connsiteY1" fmla="*/ 5832285 h 5832285"/>
              <a:gd name="connsiteX2" fmla="*/ 0 w 3632525"/>
              <a:gd name="connsiteY2" fmla="*/ 1247557 h 5832285"/>
              <a:gd name="connsiteX3" fmla="*/ 1247557 w 3632525"/>
              <a:gd name="connsiteY3" fmla="*/ 0 h 5832285"/>
              <a:gd name="connsiteX4" fmla="*/ 1420957 w 3632525"/>
              <a:gd name="connsiteY4" fmla="*/ 0 h 5832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2525" h="5832285">
                <a:moveTo>
                  <a:pt x="3632525" y="2230352"/>
                </a:moveTo>
                <a:lnTo>
                  <a:pt x="0" y="5832285"/>
                </a:lnTo>
                <a:lnTo>
                  <a:pt x="0" y="1247557"/>
                </a:lnTo>
                <a:cubicBezTo>
                  <a:pt x="0" y="558551"/>
                  <a:pt x="558551" y="0"/>
                  <a:pt x="1247557" y="0"/>
                </a:cubicBezTo>
                <a:lnTo>
                  <a:pt x="142095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LT Arabic 55 Roman"/>
              <a:ea typeface="+mn-ea"/>
              <a:cs typeface="HelveticaNeueLT Arabic 45 Light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A01AF27-B8D4-43A0-A0C4-A6F2B916AF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164" y="842194"/>
            <a:ext cx="2092922" cy="963499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2623303-F35B-4C06-BBAA-F720193F57FA}"/>
              </a:ext>
            </a:extLst>
          </p:cNvPr>
          <p:cNvCxnSpPr>
            <a:cxnSpLocks/>
          </p:cNvCxnSpPr>
          <p:nvPr/>
        </p:nvCxnSpPr>
        <p:spPr>
          <a:xfrm flipH="1">
            <a:off x="2447470" y="0"/>
            <a:ext cx="3077690" cy="3124200"/>
          </a:xfrm>
          <a:prstGeom prst="line">
            <a:avLst/>
          </a:prstGeom>
          <a:ln>
            <a:solidFill>
              <a:schemeClr val="accent1"/>
            </a:solidFill>
            <a:tailEnd type="oval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AD5A5AD-9686-46B3-B2BD-3F4C26C5C537}"/>
              </a:ext>
            </a:extLst>
          </p:cNvPr>
          <p:cNvSpPr/>
          <p:nvPr/>
        </p:nvSpPr>
        <p:spPr>
          <a:xfrm>
            <a:off x="9056914" y="1108523"/>
            <a:ext cx="2452915" cy="66399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LT Arabic 55 Roman"/>
              <a:ea typeface="+mn-ea"/>
              <a:cs typeface="HelveticaNeueLT Arabic 45 Light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8442F6B-7A44-494E-8798-C2F0767BB853}"/>
              </a:ext>
            </a:extLst>
          </p:cNvPr>
          <p:cNvSpPr txBox="1"/>
          <p:nvPr/>
        </p:nvSpPr>
        <p:spPr>
          <a:xfrm>
            <a:off x="9236893" y="1255853"/>
            <a:ext cx="2092957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LT Arabic 75 Bold" panose="020B0804020202020204" pitchFamily="34" charset="-78"/>
                <a:cs typeface="HelveticaNeueLT Arabic 75 Bold" panose="020B0804020202020204" pitchFamily="34" charset="-78"/>
              </a:rPr>
              <a:t>Thank You</a:t>
            </a:r>
            <a:endParaRPr kumimoji="0" lang="id-ID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LT Arabic 75 Bold" panose="020B0804020202020204" pitchFamily="34" charset="-78"/>
              <a:cs typeface="HelveticaNeueLT Arabic 75 Bold" panose="020B0804020202020204" pitchFamily="34" charset="-78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E43C287-1B2F-4EBD-B594-B7B9966592D5}"/>
              </a:ext>
            </a:extLst>
          </p:cNvPr>
          <p:cNvSpPr/>
          <p:nvPr/>
        </p:nvSpPr>
        <p:spPr>
          <a:xfrm>
            <a:off x="6616700" y="2020838"/>
            <a:ext cx="4893129" cy="609601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64008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rPr>
              <a:t>www.kafaa.sa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DE606574-28EE-42B7-BE09-3EC9FB0141E0}"/>
              </a:ext>
            </a:extLst>
          </p:cNvPr>
          <p:cNvSpPr/>
          <p:nvPr/>
        </p:nvSpPr>
        <p:spPr>
          <a:xfrm>
            <a:off x="6616700" y="2763788"/>
            <a:ext cx="4893129" cy="609601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64008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rPr>
              <a:t>@kafaa_SA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D5373C7C-A4EA-4220-A2F0-E26DE71B44BA}"/>
              </a:ext>
            </a:extLst>
          </p:cNvPr>
          <p:cNvSpPr/>
          <p:nvPr/>
        </p:nvSpPr>
        <p:spPr>
          <a:xfrm>
            <a:off x="6616700" y="3506738"/>
            <a:ext cx="4893129" cy="609601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64008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rPr>
              <a:t>@kafaa_SA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6C72CDA6-645B-44FB-8AD4-A9B358C4F639}"/>
              </a:ext>
            </a:extLst>
          </p:cNvPr>
          <p:cNvSpPr/>
          <p:nvPr/>
        </p:nvSpPr>
        <p:spPr>
          <a:xfrm>
            <a:off x="6616700" y="4249688"/>
            <a:ext cx="4893129" cy="609601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64008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rPr>
              <a:t>966 12 6222 840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3B7A80E7-B268-4091-9DB2-A3DC700226C4}"/>
              </a:ext>
            </a:extLst>
          </p:cNvPr>
          <p:cNvSpPr/>
          <p:nvPr/>
        </p:nvSpPr>
        <p:spPr>
          <a:xfrm>
            <a:off x="3619500" y="4992638"/>
            <a:ext cx="7890330" cy="609601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640080" rtlCol="0" anchor="ctr"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rPr>
              <a:t>7195</a:t>
            </a:r>
            <a:r>
              <a:rPr kumimoji="0" lang="ar-A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rPr>
              <a:t> شارع الأمير سلطان – المحمدية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LT Arabic 55 Roman" panose="020B0604020202020204" pitchFamily="34" charset="-78"/>
              <a:ea typeface="+mn-ea"/>
              <a:cs typeface="HelveticaNeueLT Arabic 55 Roman" panose="020B0604020202020204" pitchFamily="34" charset="-78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3EA69B-7F77-4FAA-B0BA-D798F1C6141C}"/>
              </a:ext>
            </a:extLst>
          </p:cNvPr>
          <p:cNvSpPr/>
          <p:nvPr/>
        </p:nvSpPr>
        <p:spPr>
          <a:xfrm>
            <a:off x="6261133" y="5143550"/>
            <a:ext cx="15744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rPr>
              <a:t>جدة 23625 –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rPr>
              <a:t>213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458ECC-0ABD-4C8E-8EB8-98F084A23269}"/>
              </a:ext>
            </a:extLst>
          </p:cNvPr>
          <p:cNvSpPr/>
          <p:nvPr/>
        </p:nvSpPr>
        <p:spPr>
          <a:xfrm>
            <a:off x="3915063" y="5143550"/>
            <a:ext cx="20695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rPr>
              <a:t>المملكة العربية السعودية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LT Arabic 55 Roman" panose="020B0604020202020204" pitchFamily="34" charset="-78"/>
              <a:ea typeface="+mn-ea"/>
              <a:cs typeface="HelveticaNeueLT Arabic 55 Roman" panose="020B0604020202020204" pitchFamily="34" charset="-78"/>
            </a:endParaRPr>
          </a:p>
        </p:txBody>
      </p:sp>
      <p:sp>
        <p:nvSpPr>
          <p:cNvPr id="60" name="Freeform 75">
            <a:extLst>
              <a:ext uri="{FF2B5EF4-FFF2-40B4-BE49-F238E27FC236}">
                <a16:creationId xmlns:a16="http://schemas.microsoft.com/office/drawing/2014/main" id="{2BE15B79-B3A1-446D-93CD-2FE762E54182}"/>
              </a:ext>
            </a:extLst>
          </p:cNvPr>
          <p:cNvSpPr/>
          <p:nvPr/>
        </p:nvSpPr>
        <p:spPr>
          <a:xfrm>
            <a:off x="10990903" y="2156609"/>
            <a:ext cx="338059" cy="338059"/>
          </a:xfrm>
          <a:custGeom>
            <a:avLst/>
            <a:gdLst>
              <a:gd name="connsiteX0" fmla="*/ 181322 w 300358"/>
              <a:gd name="connsiteY0" fmla="*/ 204392 h 300358"/>
              <a:gd name="connsiteX1" fmla="*/ 179296 w 300358"/>
              <a:gd name="connsiteY1" fmla="*/ 209155 h 300358"/>
              <a:gd name="connsiteX2" fmla="*/ 177270 w 300358"/>
              <a:gd name="connsiteY2" fmla="*/ 213711 h 300358"/>
              <a:gd name="connsiteX3" fmla="*/ 175041 w 300358"/>
              <a:gd name="connsiteY3" fmla="*/ 218474 h 300358"/>
              <a:gd name="connsiteX4" fmla="*/ 172610 w 300358"/>
              <a:gd name="connsiteY4" fmla="*/ 223237 h 300358"/>
              <a:gd name="connsiteX5" fmla="*/ 169773 w 300358"/>
              <a:gd name="connsiteY5" fmla="*/ 227793 h 300358"/>
              <a:gd name="connsiteX6" fmla="*/ 167140 w 300358"/>
              <a:gd name="connsiteY6" fmla="*/ 232556 h 300358"/>
              <a:gd name="connsiteX7" fmla="*/ 164303 w 300358"/>
              <a:gd name="connsiteY7" fmla="*/ 237318 h 300358"/>
              <a:gd name="connsiteX8" fmla="*/ 161264 w 300358"/>
              <a:gd name="connsiteY8" fmla="*/ 241874 h 300358"/>
              <a:gd name="connsiteX9" fmla="*/ 165924 w 300358"/>
              <a:gd name="connsiteY9" fmla="*/ 241046 h 300358"/>
              <a:gd name="connsiteX10" fmla="*/ 170381 w 300358"/>
              <a:gd name="connsiteY10" fmla="*/ 240218 h 300358"/>
              <a:gd name="connsiteX11" fmla="*/ 174838 w 300358"/>
              <a:gd name="connsiteY11" fmla="*/ 238768 h 300358"/>
              <a:gd name="connsiteX12" fmla="*/ 179296 w 300358"/>
              <a:gd name="connsiteY12" fmla="*/ 237318 h 300358"/>
              <a:gd name="connsiteX13" fmla="*/ 183550 w 300358"/>
              <a:gd name="connsiteY13" fmla="*/ 235662 h 300358"/>
              <a:gd name="connsiteX14" fmla="*/ 187805 w 300358"/>
              <a:gd name="connsiteY14" fmla="*/ 233798 h 300358"/>
              <a:gd name="connsiteX15" fmla="*/ 191655 w 300358"/>
              <a:gd name="connsiteY15" fmla="*/ 231520 h 300358"/>
              <a:gd name="connsiteX16" fmla="*/ 195504 w 300358"/>
              <a:gd name="connsiteY16" fmla="*/ 229242 h 300358"/>
              <a:gd name="connsiteX17" fmla="*/ 199353 w 300358"/>
              <a:gd name="connsiteY17" fmla="*/ 226757 h 300358"/>
              <a:gd name="connsiteX18" fmla="*/ 203203 w 300358"/>
              <a:gd name="connsiteY18" fmla="*/ 223858 h 300358"/>
              <a:gd name="connsiteX19" fmla="*/ 206647 w 300358"/>
              <a:gd name="connsiteY19" fmla="*/ 221166 h 300358"/>
              <a:gd name="connsiteX20" fmla="*/ 210091 w 300358"/>
              <a:gd name="connsiteY20" fmla="*/ 218060 h 300358"/>
              <a:gd name="connsiteX21" fmla="*/ 213130 w 300358"/>
              <a:gd name="connsiteY21" fmla="*/ 214746 h 300358"/>
              <a:gd name="connsiteX22" fmla="*/ 216170 w 300358"/>
              <a:gd name="connsiteY22" fmla="*/ 211433 h 300358"/>
              <a:gd name="connsiteX23" fmla="*/ 219209 w 300358"/>
              <a:gd name="connsiteY23" fmla="*/ 207913 h 300358"/>
              <a:gd name="connsiteX24" fmla="*/ 222045 w 300358"/>
              <a:gd name="connsiteY24" fmla="*/ 204392 h 300358"/>
              <a:gd name="connsiteX25" fmla="*/ 121756 w 300358"/>
              <a:gd name="connsiteY25" fmla="*/ 204392 h 300358"/>
              <a:gd name="connsiteX26" fmla="*/ 123767 w 300358"/>
              <a:gd name="connsiteY26" fmla="*/ 209152 h 300358"/>
              <a:gd name="connsiteX27" fmla="*/ 125978 w 300358"/>
              <a:gd name="connsiteY27" fmla="*/ 213913 h 300358"/>
              <a:gd name="connsiteX28" fmla="*/ 128391 w 300358"/>
              <a:gd name="connsiteY28" fmla="*/ 218673 h 300358"/>
              <a:gd name="connsiteX29" fmla="*/ 131005 w 300358"/>
              <a:gd name="connsiteY29" fmla="*/ 223433 h 300358"/>
              <a:gd name="connsiteX30" fmla="*/ 133819 w 300358"/>
              <a:gd name="connsiteY30" fmla="*/ 228193 h 300358"/>
              <a:gd name="connsiteX31" fmla="*/ 136835 w 300358"/>
              <a:gd name="connsiteY31" fmla="*/ 233367 h 300358"/>
              <a:gd name="connsiteX32" fmla="*/ 139851 w 300358"/>
              <a:gd name="connsiteY32" fmla="*/ 238127 h 300358"/>
              <a:gd name="connsiteX33" fmla="*/ 143068 w 300358"/>
              <a:gd name="connsiteY33" fmla="*/ 242887 h 300358"/>
              <a:gd name="connsiteX34" fmla="*/ 145280 w 300358"/>
              <a:gd name="connsiteY34" fmla="*/ 242887 h 300358"/>
              <a:gd name="connsiteX35" fmla="*/ 147893 w 300358"/>
              <a:gd name="connsiteY35" fmla="*/ 242887 h 300358"/>
              <a:gd name="connsiteX36" fmla="*/ 150507 w 300358"/>
              <a:gd name="connsiteY36" fmla="*/ 242887 h 300358"/>
              <a:gd name="connsiteX37" fmla="*/ 152920 w 300358"/>
              <a:gd name="connsiteY37" fmla="*/ 242887 h 300358"/>
              <a:gd name="connsiteX38" fmla="*/ 156137 w 300358"/>
              <a:gd name="connsiteY38" fmla="*/ 238127 h 300358"/>
              <a:gd name="connsiteX39" fmla="*/ 159354 w 300358"/>
              <a:gd name="connsiteY39" fmla="*/ 232953 h 300358"/>
              <a:gd name="connsiteX40" fmla="*/ 162169 w 300358"/>
              <a:gd name="connsiteY40" fmla="*/ 228193 h 300358"/>
              <a:gd name="connsiteX41" fmla="*/ 164983 w 300358"/>
              <a:gd name="connsiteY41" fmla="*/ 223433 h 300358"/>
              <a:gd name="connsiteX42" fmla="*/ 167798 w 300358"/>
              <a:gd name="connsiteY42" fmla="*/ 218673 h 300358"/>
              <a:gd name="connsiteX43" fmla="*/ 170211 w 300358"/>
              <a:gd name="connsiteY43" fmla="*/ 213913 h 300358"/>
              <a:gd name="connsiteX44" fmla="*/ 172422 w 300358"/>
              <a:gd name="connsiteY44" fmla="*/ 209152 h 300358"/>
              <a:gd name="connsiteX45" fmla="*/ 174433 w 300358"/>
              <a:gd name="connsiteY45" fmla="*/ 204392 h 300358"/>
              <a:gd name="connsiteX46" fmla="*/ 74145 w 300358"/>
              <a:gd name="connsiteY46" fmla="*/ 204392 h 300358"/>
              <a:gd name="connsiteX47" fmla="*/ 76991 w 300358"/>
              <a:gd name="connsiteY47" fmla="*/ 207913 h 300358"/>
              <a:gd name="connsiteX48" fmla="*/ 79837 w 300358"/>
              <a:gd name="connsiteY48" fmla="*/ 211433 h 300358"/>
              <a:gd name="connsiteX49" fmla="*/ 82886 w 300358"/>
              <a:gd name="connsiteY49" fmla="*/ 214746 h 300358"/>
              <a:gd name="connsiteX50" fmla="*/ 86139 w 300358"/>
              <a:gd name="connsiteY50" fmla="*/ 218060 h 300358"/>
              <a:gd name="connsiteX51" fmla="*/ 89594 w 300358"/>
              <a:gd name="connsiteY51" fmla="*/ 221166 h 300358"/>
              <a:gd name="connsiteX52" fmla="*/ 93050 w 300358"/>
              <a:gd name="connsiteY52" fmla="*/ 224065 h 300358"/>
              <a:gd name="connsiteX53" fmla="*/ 96912 w 300358"/>
              <a:gd name="connsiteY53" fmla="*/ 226757 h 300358"/>
              <a:gd name="connsiteX54" fmla="*/ 100572 w 300358"/>
              <a:gd name="connsiteY54" fmla="*/ 229449 h 300358"/>
              <a:gd name="connsiteX55" fmla="*/ 104434 w 300358"/>
              <a:gd name="connsiteY55" fmla="*/ 231727 h 300358"/>
              <a:gd name="connsiteX56" fmla="*/ 108500 w 300358"/>
              <a:gd name="connsiteY56" fmla="*/ 233798 h 300358"/>
              <a:gd name="connsiteX57" fmla="*/ 112768 w 300358"/>
              <a:gd name="connsiteY57" fmla="*/ 235869 h 300358"/>
              <a:gd name="connsiteX58" fmla="*/ 117037 w 300358"/>
              <a:gd name="connsiteY58" fmla="*/ 237318 h 300358"/>
              <a:gd name="connsiteX59" fmla="*/ 121306 w 300358"/>
              <a:gd name="connsiteY59" fmla="*/ 238975 h 300358"/>
              <a:gd name="connsiteX60" fmla="*/ 125778 w 300358"/>
              <a:gd name="connsiteY60" fmla="*/ 240218 h 300358"/>
              <a:gd name="connsiteX61" fmla="*/ 130251 w 300358"/>
              <a:gd name="connsiteY61" fmla="*/ 241253 h 300358"/>
              <a:gd name="connsiteX62" fmla="*/ 134926 w 300358"/>
              <a:gd name="connsiteY62" fmla="*/ 241874 h 300358"/>
              <a:gd name="connsiteX63" fmla="*/ 131674 w 300358"/>
              <a:gd name="connsiteY63" fmla="*/ 237318 h 300358"/>
              <a:gd name="connsiteX64" fmla="*/ 128828 w 300358"/>
              <a:gd name="connsiteY64" fmla="*/ 232556 h 300358"/>
              <a:gd name="connsiteX65" fmla="*/ 126185 w 300358"/>
              <a:gd name="connsiteY65" fmla="*/ 227793 h 300358"/>
              <a:gd name="connsiteX66" fmla="*/ 123542 w 300358"/>
              <a:gd name="connsiteY66" fmla="*/ 223237 h 300358"/>
              <a:gd name="connsiteX67" fmla="*/ 121103 w 300358"/>
              <a:gd name="connsiteY67" fmla="*/ 218474 h 300358"/>
              <a:gd name="connsiteX68" fmla="*/ 118867 w 300358"/>
              <a:gd name="connsiteY68" fmla="*/ 213711 h 300358"/>
              <a:gd name="connsiteX69" fmla="*/ 116834 w 300358"/>
              <a:gd name="connsiteY69" fmla="*/ 209155 h 300358"/>
              <a:gd name="connsiteX70" fmla="*/ 114801 w 300358"/>
              <a:gd name="connsiteY70" fmla="*/ 204392 h 300358"/>
              <a:gd name="connsiteX71" fmla="*/ 192700 w 300358"/>
              <a:gd name="connsiteY71" fmla="*/ 157794 h 300358"/>
              <a:gd name="connsiteX72" fmla="*/ 192294 w 300358"/>
              <a:gd name="connsiteY72" fmla="*/ 163010 h 300358"/>
              <a:gd name="connsiteX73" fmla="*/ 191480 w 300358"/>
              <a:gd name="connsiteY73" fmla="*/ 167824 h 300358"/>
              <a:gd name="connsiteX74" fmla="*/ 190667 w 300358"/>
              <a:gd name="connsiteY74" fmla="*/ 172839 h 300358"/>
              <a:gd name="connsiteX75" fmla="*/ 189447 w 300358"/>
              <a:gd name="connsiteY75" fmla="*/ 178055 h 300358"/>
              <a:gd name="connsiteX76" fmla="*/ 188430 w 300358"/>
              <a:gd name="connsiteY76" fmla="*/ 183070 h 300358"/>
              <a:gd name="connsiteX77" fmla="*/ 186804 w 300358"/>
              <a:gd name="connsiteY77" fmla="*/ 188085 h 300358"/>
              <a:gd name="connsiteX78" fmla="*/ 185380 w 300358"/>
              <a:gd name="connsiteY78" fmla="*/ 193300 h 300358"/>
              <a:gd name="connsiteX79" fmla="*/ 183550 w 300358"/>
              <a:gd name="connsiteY79" fmla="*/ 198315 h 300358"/>
              <a:gd name="connsiteX80" fmla="*/ 226049 w 300358"/>
              <a:gd name="connsiteY80" fmla="*/ 198315 h 300358"/>
              <a:gd name="connsiteX81" fmla="*/ 228692 w 300358"/>
              <a:gd name="connsiteY81" fmla="*/ 193902 h 300358"/>
              <a:gd name="connsiteX82" fmla="*/ 230929 w 300358"/>
              <a:gd name="connsiteY82" fmla="*/ 189088 h 300358"/>
              <a:gd name="connsiteX83" fmla="*/ 233166 w 300358"/>
              <a:gd name="connsiteY83" fmla="*/ 184073 h 300358"/>
              <a:gd name="connsiteX84" fmla="*/ 234996 w 300358"/>
              <a:gd name="connsiteY84" fmla="*/ 179058 h 300358"/>
              <a:gd name="connsiteX85" fmla="*/ 236623 w 300358"/>
              <a:gd name="connsiteY85" fmla="*/ 174043 h 300358"/>
              <a:gd name="connsiteX86" fmla="*/ 237639 w 300358"/>
              <a:gd name="connsiteY86" fmla="*/ 168627 h 300358"/>
              <a:gd name="connsiteX87" fmla="*/ 238656 w 300358"/>
              <a:gd name="connsiteY87" fmla="*/ 163411 h 300358"/>
              <a:gd name="connsiteX88" fmla="*/ 239266 w 300358"/>
              <a:gd name="connsiteY88" fmla="*/ 157794 h 300358"/>
              <a:gd name="connsiteX89" fmla="*/ 108587 w 300358"/>
              <a:gd name="connsiteY89" fmla="*/ 157794 h 300358"/>
              <a:gd name="connsiteX90" fmla="*/ 109195 w 300358"/>
              <a:gd name="connsiteY90" fmla="*/ 163010 h 300358"/>
              <a:gd name="connsiteX91" fmla="*/ 110005 w 300358"/>
              <a:gd name="connsiteY91" fmla="*/ 167824 h 300358"/>
              <a:gd name="connsiteX92" fmla="*/ 110816 w 300358"/>
              <a:gd name="connsiteY92" fmla="*/ 172839 h 300358"/>
              <a:gd name="connsiteX93" fmla="*/ 111829 w 300358"/>
              <a:gd name="connsiteY93" fmla="*/ 178055 h 300358"/>
              <a:gd name="connsiteX94" fmla="*/ 113247 w 300358"/>
              <a:gd name="connsiteY94" fmla="*/ 183070 h 300358"/>
              <a:gd name="connsiteX95" fmla="*/ 114868 w 300358"/>
              <a:gd name="connsiteY95" fmla="*/ 188085 h 300358"/>
              <a:gd name="connsiteX96" fmla="*/ 116691 w 300358"/>
              <a:gd name="connsiteY96" fmla="*/ 193300 h 300358"/>
              <a:gd name="connsiteX97" fmla="*/ 118312 w 300358"/>
              <a:gd name="connsiteY97" fmla="*/ 198315 h 300358"/>
              <a:gd name="connsiteX98" fmla="*/ 176864 w 300358"/>
              <a:gd name="connsiteY98" fmla="*/ 198315 h 300358"/>
              <a:gd name="connsiteX99" fmla="*/ 178688 w 300358"/>
              <a:gd name="connsiteY99" fmla="*/ 193300 h 300358"/>
              <a:gd name="connsiteX100" fmla="*/ 180511 w 300358"/>
              <a:gd name="connsiteY100" fmla="*/ 188085 h 300358"/>
              <a:gd name="connsiteX101" fmla="*/ 181929 w 300358"/>
              <a:gd name="connsiteY101" fmla="*/ 183070 h 300358"/>
              <a:gd name="connsiteX102" fmla="*/ 183347 w 300358"/>
              <a:gd name="connsiteY102" fmla="*/ 178055 h 300358"/>
              <a:gd name="connsiteX103" fmla="*/ 184360 w 300358"/>
              <a:gd name="connsiteY103" fmla="*/ 172839 h 300358"/>
              <a:gd name="connsiteX104" fmla="*/ 185373 w 300358"/>
              <a:gd name="connsiteY104" fmla="*/ 167824 h 300358"/>
              <a:gd name="connsiteX105" fmla="*/ 186184 w 300358"/>
              <a:gd name="connsiteY105" fmla="*/ 163010 h 300358"/>
              <a:gd name="connsiteX106" fmla="*/ 186589 w 300358"/>
              <a:gd name="connsiteY106" fmla="*/ 157794 h 300358"/>
              <a:gd name="connsiteX107" fmla="*/ 56923 w 300358"/>
              <a:gd name="connsiteY107" fmla="*/ 157794 h 300358"/>
              <a:gd name="connsiteX108" fmla="*/ 57733 w 300358"/>
              <a:gd name="connsiteY108" fmla="*/ 163411 h 300358"/>
              <a:gd name="connsiteX109" fmla="*/ 58746 w 300358"/>
              <a:gd name="connsiteY109" fmla="*/ 168627 h 300358"/>
              <a:gd name="connsiteX110" fmla="*/ 59962 w 300358"/>
              <a:gd name="connsiteY110" fmla="*/ 174043 h 300358"/>
              <a:gd name="connsiteX111" fmla="*/ 61380 w 300358"/>
              <a:gd name="connsiteY111" fmla="*/ 179058 h 300358"/>
              <a:gd name="connsiteX112" fmla="*/ 63406 w 300358"/>
              <a:gd name="connsiteY112" fmla="*/ 184073 h 300358"/>
              <a:gd name="connsiteX113" fmla="*/ 65432 w 300358"/>
              <a:gd name="connsiteY113" fmla="*/ 189088 h 300358"/>
              <a:gd name="connsiteX114" fmla="*/ 67864 w 300358"/>
              <a:gd name="connsiteY114" fmla="*/ 193902 h 300358"/>
              <a:gd name="connsiteX115" fmla="*/ 70700 w 300358"/>
              <a:gd name="connsiteY115" fmla="*/ 198315 h 300358"/>
              <a:gd name="connsiteX116" fmla="*/ 112639 w 300358"/>
              <a:gd name="connsiteY116" fmla="*/ 198315 h 300358"/>
              <a:gd name="connsiteX117" fmla="*/ 110816 w 300358"/>
              <a:gd name="connsiteY117" fmla="*/ 193300 h 300358"/>
              <a:gd name="connsiteX118" fmla="*/ 109195 w 300358"/>
              <a:gd name="connsiteY118" fmla="*/ 188085 h 300358"/>
              <a:gd name="connsiteX119" fmla="*/ 107574 w 300358"/>
              <a:gd name="connsiteY119" fmla="*/ 183070 h 300358"/>
              <a:gd name="connsiteX120" fmla="*/ 106561 w 300358"/>
              <a:gd name="connsiteY120" fmla="*/ 178055 h 300358"/>
              <a:gd name="connsiteX121" fmla="*/ 105345 w 300358"/>
              <a:gd name="connsiteY121" fmla="*/ 172839 h 300358"/>
              <a:gd name="connsiteX122" fmla="*/ 104535 w 300358"/>
              <a:gd name="connsiteY122" fmla="*/ 168025 h 300358"/>
              <a:gd name="connsiteX123" fmla="*/ 103927 w 300358"/>
              <a:gd name="connsiteY123" fmla="*/ 163010 h 300358"/>
              <a:gd name="connsiteX124" fmla="*/ 103319 w 300358"/>
              <a:gd name="connsiteY124" fmla="*/ 157794 h 300358"/>
              <a:gd name="connsiteX125" fmla="*/ 188615 w 300358"/>
              <a:gd name="connsiteY125" fmla="*/ 110182 h 300358"/>
              <a:gd name="connsiteX126" fmla="*/ 189821 w 300358"/>
              <a:gd name="connsiteY126" fmla="*/ 115093 h 300358"/>
              <a:gd name="connsiteX127" fmla="*/ 191027 w 300358"/>
              <a:gd name="connsiteY127" fmla="*/ 120412 h 300358"/>
              <a:gd name="connsiteX128" fmla="*/ 191831 w 300358"/>
              <a:gd name="connsiteY128" fmla="*/ 125527 h 300358"/>
              <a:gd name="connsiteX129" fmla="*/ 192635 w 300358"/>
              <a:gd name="connsiteY129" fmla="*/ 130642 h 300358"/>
              <a:gd name="connsiteX130" fmla="*/ 193238 w 300358"/>
              <a:gd name="connsiteY130" fmla="*/ 135962 h 300358"/>
              <a:gd name="connsiteX131" fmla="*/ 193439 w 300358"/>
              <a:gd name="connsiteY131" fmla="*/ 141077 h 300358"/>
              <a:gd name="connsiteX132" fmla="*/ 193439 w 300358"/>
              <a:gd name="connsiteY132" fmla="*/ 146192 h 300358"/>
              <a:gd name="connsiteX133" fmla="*/ 193439 w 300358"/>
              <a:gd name="connsiteY133" fmla="*/ 151716 h 300358"/>
              <a:gd name="connsiteX134" fmla="*/ 239266 w 300358"/>
              <a:gd name="connsiteY134" fmla="*/ 151716 h 300358"/>
              <a:gd name="connsiteX135" fmla="*/ 239266 w 300358"/>
              <a:gd name="connsiteY135" fmla="*/ 151102 h 300358"/>
              <a:gd name="connsiteX136" fmla="*/ 239266 w 300358"/>
              <a:gd name="connsiteY136" fmla="*/ 150898 h 300358"/>
              <a:gd name="connsiteX137" fmla="*/ 239065 w 300358"/>
              <a:gd name="connsiteY137" fmla="*/ 145578 h 300358"/>
              <a:gd name="connsiteX138" fmla="*/ 238663 w 300358"/>
              <a:gd name="connsiteY138" fmla="*/ 140259 h 300358"/>
              <a:gd name="connsiteX139" fmla="*/ 237859 w 300358"/>
              <a:gd name="connsiteY139" fmla="*/ 134734 h 300358"/>
              <a:gd name="connsiteX140" fmla="*/ 236854 w 300358"/>
              <a:gd name="connsiteY140" fmla="*/ 129619 h 300358"/>
              <a:gd name="connsiteX141" fmla="*/ 235447 w 300358"/>
              <a:gd name="connsiteY141" fmla="*/ 124709 h 300358"/>
              <a:gd name="connsiteX142" fmla="*/ 234040 w 300358"/>
              <a:gd name="connsiteY142" fmla="*/ 119594 h 300358"/>
              <a:gd name="connsiteX143" fmla="*/ 232030 w 300358"/>
              <a:gd name="connsiteY143" fmla="*/ 114888 h 300358"/>
              <a:gd name="connsiteX144" fmla="*/ 229819 w 300358"/>
              <a:gd name="connsiteY144" fmla="*/ 110182 h 300358"/>
              <a:gd name="connsiteX145" fmla="*/ 113855 w 300358"/>
              <a:gd name="connsiteY145" fmla="*/ 110182 h 300358"/>
              <a:gd name="connsiteX146" fmla="*/ 112234 w 300358"/>
              <a:gd name="connsiteY146" fmla="*/ 115093 h 300358"/>
              <a:gd name="connsiteX147" fmla="*/ 111221 w 300358"/>
              <a:gd name="connsiteY147" fmla="*/ 120412 h 300358"/>
              <a:gd name="connsiteX148" fmla="*/ 110410 w 300358"/>
              <a:gd name="connsiteY148" fmla="*/ 125527 h 300358"/>
              <a:gd name="connsiteX149" fmla="*/ 109397 w 300358"/>
              <a:gd name="connsiteY149" fmla="*/ 130642 h 300358"/>
              <a:gd name="connsiteX150" fmla="*/ 108992 w 300358"/>
              <a:gd name="connsiteY150" fmla="*/ 135962 h 300358"/>
              <a:gd name="connsiteX151" fmla="*/ 108587 w 300358"/>
              <a:gd name="connsiteY151" fmla="*/ 141077 h 300358"/>
              <a:gd name="connsiteX152" fmla="*/ 108587 w 300358"/>
              <a:gd name="connsiteY152" fmla="*/ 146192 h 300358"/>
              <a:gd name="connsiteX153" fmla="*/ 108587 w 300358"/>
              <a:gd name="connsiteY153" fmla="*/ 151716 h 300358"/>
              <a:gd name="connsiteX154" fmla="*/ 187602 w 300358"/>
              <a:gd name="connsiteY154" fmla="*/ 151716 h 300358"/>
              <a:gd name="connsiteX155" fmla="*/ 187602 w 300358"/>
              <a:gd name="connsiteY155" fmla="*/ 146192 h 300358"/>
              <a:gd name="connsiteX156" fmla="*/ 187602 w 300358"/>
              <a:gd name="connsiteY156" fmla="*/ 141077 h 300358"/>
              <a:gd name="connsiteX157" fmla="*/ 186994 w 300358"/>
              <a:gd name="connsiteY157" fmla="*/ 135962 h 300358"/>
              <a:gd name="connsiteX158" fmla="*/ 186589 w 300358"/>
              <a:gd name="connsiteY158" fmla="*/ 130642 h 300358"/>
              <a:gd name="connsiteX159" fmla="*/ 185779 w 300358"/>
              <a:gd name="connsiteY159" fmla="*/ 125527 h 300358"/>
              <a:gd name="connsiteX160" fmla="*/ 184766 w 300358"/>
              <a:gd name="connsiteY160" fmla="*/ 120412 h 300358"/>
              <a:gd name="connsiteX161" fmla="*/ 183753 w 300358"/>
              <a:gd name="connsiteY161" fmla="*/ 115093 h 300358"/>
              <a:gd name="connsiteX162" fmla="*/ 182132 w 300358"/>
              <a:gd name="connsiteY162" fmla="*/ 110182 h 300358"/>
              <a:gd name="connsiteX163" fmla="*/ 65365 w 300358"/>
              <a:gd name="connsiteY163" fmla="*/ 110182 h 300358"/>
              <a:gd name="connsiteX164" fmla="*/ 63556 w 300358"/>
              <a:gd name="connsiteY164" fmla="*/ 114683 h 300358"/>
              <a:gd name="connsiteX165" fmla="*/ 61948 w 300358"/>
              <a:gd name="connsiteY165" fmla="*/ 119185 h 300358"/>
              <a:gd name="connsiteX166" fmla="*/ 60340 w 300358"/>
              <a:gd name="connsiteY166" fmla="*/ 123891 h 300358"/>
              <a:gd name="connsiteX167" fmla="*/ 59134 w 300358"/>
              <a:gd name="connsiteY167" fmla="*/ 128801 h 300358"/>
              <a:gd name="connsiteX168" fmla="*/ 58129 w 300358"/>
              <a:gd name="connsiteY168" fmla="*/ 133916 h 300358"/>
              <a:gd name="connsiteX169" fmla="*/ 57526 w 300358"/>
              <a:gd name="connsiteY169" fmla="*/ 138826 h 300358"/>
              <a:gd name="connsiteX170" fmla="*/ 56923 w 300358"/>
              <a:gd name="connsiteY170" fmla="*/ 143941 h 300358"/>
              <a:gd name="connsiteX171" fmla="*/ 56923 w 300358"/>
              <a:gd name="connsiteY171" fmla="*/ 149466 h 300358"/>
              <a:gd name="connsiteX172" fmla="*/ 56923 w 300358"/>
              <a:gd name="connsiteY172" fmla="*/ 150489 h 300358"/>
              <a:gd name="connsiteX173" fmla="*/ 56923 w 300358"/>
              <a:gd name="connsiteY173" fmla="*/ 151716 h 300358"/>
              <a:gd name="connsiteX174" fmla="*/ 102750 w 300358"/>
              <a:gd name="connsiteY174" fmla="*/ 151716 h 300358"/>
              <a:gd name="connsiteX175" fmla="*/ 102750 w 300358"/>
              <a:gd name="connsiteY175" fmla="*/ 146192 h 300358"/>
              <a:gd name="connsiteX176" fmla="*/ 102750 w 300358"/>
              <a:gd name="connsiteY176" fmla="*/ 141077 h 300358"/>
              <a:gd name="connsiteX177" fmla="*/ 102951 w 300358"/>
              <a:gd name="connsiteY177" fmla="*/ 135962 h 300358"/>
              <a:gd name="connsiteX178" fmla="*/ 103755 w 300358"/>
              <a:gd name="connsiteY178" fmla="*/ 130642 h 300358"/>
              <a:gd name="connsiteX179" fmla="*/ 104358 w 300358"/>
              <a:gd name="connsiteY179" fmla="*/ 125527 h 300358"/>
              <a:gd name="connsiteX180" fmla="*/ 105162 w 300358"/>
              <a:gd name="connsiteY180" fmla="*/ 120412 h 300358"/>
              <a:gd name="connsiteX181" fmla="*/ 106368 w 300358"/>
              <a:gd name="connsiteY181" fmla="*/ 115093 h 300358"/>
              <a:gd name="connsiteX182" fmla="*/ 107574 w 300358"/>
              <a:gd name="connsiteY182" fmla="*/ 110182 h 300358"/>
              <a:gd name="connsiteX183" fmla="*/ 162276 w 300358"/>
              <a:gd name="connsiteY183" fmla="*/ 61557 h 300358"/>
              <a:gd name="connsiteX184" fmla="*/ 166113 w 300358"/>
              <a:gd name="connsiteY184" fmla="*/ 66528 h 300358"/>
              <a:gd name="connsiteX185" fmla="*/ 169951 w 300358"/>
              <a:gd name="connsiteY185" fmla="*/ 71697 h 300358"/>
              <a:gd name="connsiteX186" fmla="*/ 173182 w 300358"/>
              <a:gd name="connsiteY186" fmla="*/ 77065 h 300358"/>
              <a:gd name="connsiteX187" fmla="*/ 176413 w 300358"/>
              <a:gd name="connsiteY187" fmla="*/ 82234 h 300358"/>
              <a:gd name="connsiteX188" fmla="*/ 179241 w 300358"/>
              <a:gd name="connsiteY188" fmla="*/ 87602 h 300358"/>
              <a:gd name="connsiteX189" fmla="*/ 181664 w 300358"/>
              <a:gd name="connsiteY189" fmla="*/ 92970 h 300358"/>
              <a:gd name="connsiteX190" fmla="*/ 184088 w 300358"/>
              <a:gd name="connsiteY190" fmla="*/ 98537 h 300358"/>
              <a:gd name="connsiteX191" fmla="*/ 186108 w 300358"/>
              <a:gd name="connsiteY191" fmla="*/ 104104 h 300358"/>
              <a:gd name="connsiteX192" fmla="*/ 226096 w 300358"/>
              <a:gd name="connsiteY192" fmla="*/ 104104 h 300358"/>
              <a:gd name="connsiteX193" fmla="*/ 223471 w 300358"/>
              <a:gd name="connsiteY193" fmla="*/ 99929 h 300358"/>
              <a:gd name="connsiteX194" fmla="*/ 220643 w 300358"/>
              <a:gd name="connsiteY194" fmla="*/ 96152 h 300358"/>
              <a:gd name="connsiteX195" fmla="*/ 217412 w 300358"/>
              <a:gd name="connsiteY195" fmla="*/ 92374 h 300358"/>
              <a:gd name="connsiteX196" fmla="*/ 214180 w 300358"/>
              <a:gd name="connsiteY196" fmla="*/ 88596 h 300358"/>
              <a:gd name="connsiteX197" fmla="*/ 210747 w 300358"/>
              <a:gd name="connsiteY197" fmla="*/ 85217 h 300358"/>
              <a:gd name="connsiteX198" fmla="*/ 207112 w 300358"/>
              <a:gd name="connsiteY198" fmla="*/ 82035 h 300358"/>
              <a:gd name="connsiteX199" fmla="*/ 203274 w 300358"/>
              <a:gd name="connsiteY199" fmla="*/ 79053 h 300358"/>
              <a:gd name="connsiteX200" fmla="*/ 199235 w 300358"/>
              <a:gd name="connsiteY200" fmla="*/ 76071 h 300358"/>
              <a:gd name="connsiteX201" fmla="*/ 194994 w 300358"/>
              <a:gd name="connsiteY201" fmla="*/ 73287 h 300358"/>
              <a:gd name="connsiteX202" fmla="*/ 190753 w 300358"/>
              <a:gd name="connsiteY202" fmla="*/ 70902 h 300358"/>
              <a:gd name="connsiteX203" fmla="*/ 186310 w 300358"/>
              <a:gd name="connsiteY203" fmla="*/ 68715 h 300358"/>
              <a:gd name="connsiteX204" fmla="*/ 181664 w 300358"/>
              <a:gd name="connsiteY204" fmla="*/ 66727 h 300358"/>
              <a:gd name="connsiteX205" fmla="*/ 177019 w 300358"/>
              <a:gd name="connsiteY205" fmla="*/ 65136 h 300358"/>
              <a:gd name="connsiteX206" fmla="*/ 172172 w 300358"/>
              <a:gd name="connsiteY206" fmla="*/ 63744 h 300358"/>
              <a:gd name="connsiteX207" fmla="*/ 167123 w 300358"/>
              <a:gd name="connsiteY207" fmla="*/ 62353 h 300358"/>
              <a:gd name="connsiteX208" fmla="*/ 133912 w 300358"/>
              <a:gd name="connsiteY208" fmla="*/ 61557 h 300358"/>
              <a:gd name="connsiteX209" fmla="*/ 128661 w 300358"/>
              <a:gd name="connsiteY209" fmla="*/ 62353 h 300358"/>
              <a:gd name="connsiteX210" fmla="*/ 123409 w 300358"/>
              <a:gd name="connsiteY210" fmla="*/ 63545 h 300358"/>
              <a:gd name="connsiteX211" fmla="*/ 118562 w 300358"/>
              <a:gd name="connsiteY211" fmla="*/ 64937 h 300358"/>
              <a:gd name="connsiteX212" fmla="*/ 113715 w 300358"/>
              <a:gd name="connsiteY212" fmla="*/ 66727 h 300358"/>
              <a:gd name="connsiteX213" fmla="*/ 109069 w 300358"/>
              <a:gd name="connsiteY213" fmla="*/ 68715 h 300358"/>
              <a:gd name="connsiteX214" fmla="*/ 104424 w 300358"/>
              <a:gd name="connsiteY214" fmla="*/ 70703 h 300358"/>
              <a:gd name="connsiteX215" fmla="*/ 99981 w 300358"/>
              <a:gd name="connsiteY215" fmla="*/ 73287 h 300358"/>
              <a:gd name="connsiteX216" fmla="*/ 95739 w 300358"/>
              <a:gd name="connsiteY216" fmla="*/ 75872 h 300358"/>
              <a:gd name="connsiteX217" fmla="*/ 91700 w 300358"/>
              <a:gd name="connsiteY217" fmla="*/ 78854 h 300358"/>
              <a:gd name="connsiteX218" fmla="*/ 87862 w 300358"/>
              <a:gd name="connsiteY218" fmla="*/ 81837 h 300358"/>
              <a:gd name="connsiteX219" fmla="*/ 84227 w 300358"/>
              <a:gd name="connsiteY219" fmla="*/ 85217 h 300358"/>
              <a:gd name="connsiteX220" fmla="*/ 80793 w 300358"/>
              <a:gd name="connsiteY220" fmla="*/ 88398 h 300358"/>
              <a:gd name="connsiteX221" fmla="*/ 77562 w 300358"/>
              <a:gd name="connsiteY221" fmla="*/ 92175 h 300358"/>
              <a:gd name="connsiteX222" fmla="*/ 74330 w 300358"/>
              <a:gd name="connsiteY222" fmla="*/ 96152 h 300358"/>
              <a:gd name="connsiteX223" fmla="*/ 71503 w 300358"/>
              <a:gd name="connsiteY223" fmla="*/ 99929 h 300358"/>
              <a:gd name="connsiteX224" fmla="*/ 69079 w 300358"/>
              <a:gd name="connsiteY224" fmla="*/ 104104 h 300358"/>
              <a:gd name="connsiteX225" fmla="*/ 109877 w 300358"/>
              <a:gd name="connsiteY225" fmla="*/ 104104 h 300358"/>
              <a:gd name="connsiteX226" fmla="*/ 112099 w 300358"/>
              <a:gd name="connsiteY226" fmla="*/ 98537 h 300358"/>
              <a:gd name="connsiteX227" fmla="*/ 114321 w 300358"/>
              <a:gd name="connsiteY227" fmla="*/ 92970 h 300358"/>
              <a:gd name="connsiteX228" fmla="*/ 117148 w 300358"/>
              <a:gd name="connsiteY228" fmla="*/ 87602 h 300358"/>
              <a:gd name="connsiteX229" fmla="*/ 119774 w 300358"/>
              <a:gd name="connsiteY229" fmla="*/ 82234 h 300358"/>
              <a:gd name="connsiteX230" fmla="*/ 122804 w 300358"/>
              <a:gd name="connsiteY230" fmla="*/ 76866 h 300358"/>
              <a:gd name="connsiteX231" fmla="*/ 126439 w 300358"/>
              <a:gd name="connsiteY231" fmla="*/ 71498 h 300358"/>
              <a:gd name="connsiteX232" fmla="*/ 129873 w 300358"/>
              <a:gd name="connsiteY232" fmla="*/ 66528 h 300358"/>
              <a:gd name="connsiteX233" fmla="*/ 144106 w 300358"/>
              <a:gd name="connsiteY233" fmla="*/ 59531 h 300358"/>
              <a:gd name="connsiteX234" fmla="*/ 143084 w 300358"/>
              <a:gd name="connsiteY234" fmla="*/ 59734 h 300358"/>
              <a:gd name="connsiteX235" fmla="*/ 142266 w 300358"/>
              <a:gd name="connsiteY235" fmla="*/ 59734 h 300358"/>
              <a:gd name="connsiteX236" fmla="*/ 137971 w 300358"/>
              <a:gd name="connsiteY236" fmla="*/ 65204 h 300358"/>
              <a:gd name="connsiteX237" fmla="*/ 133880 w 300358"/>
              <a:gd name="connsiteY237" fmla="*/ 70472 h 300358"/>
              <a:gd name="connsiteX238" fmla="*/ 130199 w 300358"/>
              <a:gd name="connsiteY238" fmla="*/ 75942 h 300358"/>
              <a:gd name="connsiteX239" fmla="*/ 126518 w 300358"/>
              <a:gd name="connsiteY239" fmla="*/ 81413 h 300358"/>
              <a:gd name="connsiteX240" fmla="*/ 123450 w 300358"/>
              <a:gd name="connsiteY240" fmla="*/ 87085 h 300358"/>
              <a:gd name="connsiteX241" fmla="*/ 120382 w 300358"/>
              <a:gd name="connsiteY241" fmla="*/ 92556 h 300358"/>
              <a:gd name="connsiteX242" fmla="*/ 117928 w 300358"/>
              <a:gd name="connsiteY242" fmla="*/ 98431 h 300358"/>
              <a:gd name="connsiteX243" fmla="*/ 115678 w 300358"/>
              <a:gd name="connsiteY243" fmla="*/ 104104 h 300358"/>
              <a:gd name="connsiteX244" fmla="*/ 180511 w 300358"/>
              <a:gd name="connsiteY244" fmla="*/ 104104 h 300358"/>
              <a:gd name="connsiteX245" fmla="*/ 178261 w 300358"/>
              <a:gd name="connsiteY245" fmla="*/ 98431 h 300358"/>
              <a:gd name="connsiteX246" fmla="*/ 175807 w 300358"/>
              <a:gd name="connsiteY246" fmla="*/ 92556 h 300358"/>
              <a:gd name="connsiteX247" fmla="*/ 172944 w 300358"/>
              <a:gd name="connsiteY247" fmla="*/ 87085 h 300358"/>
              <a:gd name="connsiteX248" fmla="*/ 169671 w 300358"/>
              <a:gd name="connsiteY248" fmla="*/ 81413 h 300358"/>
              <a:gd name="connsiteX249" fmla="*/ 166195 w 300358"/>
              <a:gd name="connsiteY249" fmla="*/ 75942 h 300358"/>
              <a:gd name="connsiteX250" fmla="*/ 162309 w 300358"/>
              <a:gd name="connsiteY250" fmla="*/ 70472 h 300358"/>
              <a:gd name="connsiteX251" fmla="*/ 158218 w 300358"/>
              <a:gd name="connsiteY251" fmla="*/ 65204 h 300358"/>
              <a:gd name="connsiteX252" fmla="*/ 153923 w 300358"/>
              <a:gd name="connsiteY252" fmla="*/ 59734 h 300358"/>
              <a:gd name="connsiteX253" fmla="*/ 151060 w 300358"/>
              <a:gd name="connsiteY253" fmla="*/ 59531 h 300358"/>
              <a:gd name="connsiteX254" fmla="*/ 148197 w 300358"/>
              <a:gd name="connsiteY254" fmla="*/ 59531 h 300358"/>
              <a:gd name="connsiteX255" fmla="*/ 146152 w 300358"/>
              <a:gd name="connsiteY255" fmla="*/ 59531 h 300358"/>
              <a:gd name="connsiteX256" fmla="*/ 150179 w 300358"/>
              <a:gd name="connsiteY256" fmla="*/ 0 h 300358"/>
              <a:gd name="connsiteX257" fmla="*/ 300358 w 300358"/>
              <a:gd name="connsiteY257" fmla="*/ 150179 h 300358"/>
              <a:gd name="connsiteX258" fmla="*/ 150179 w 300358"/>
              <a:gd name="connsiteY258" fmla="*/ 300358 h 300358"/>
              <a:gd name="connsiteX259" fmla="*/ 0 w 300358"/>
              <a:gd name="connsiteY259" fmla="*/ 150179 h 300358"/>
              <a:gd name="connsiteX260" fmla="*/ 150179 w 300358"/>
              <a:gd name="connsiteY260" fmla="*/ 0 h 30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</a:cxnLst>
            <a:rect l="l" t="t" r="r" b="b"/>
            <a:pathLst>
              <a:path w="300358" h="300358">
                <a:moveTo>
                  <a:pt x="181322" y="204392"/>
                </a:moveTo>
                <a:lnTo>
                  <a:pt x="179296" y="209155"/>
                </a:lnTo>
                <a:lnTo>
                  <a:pt x="177270" y="213711"/>
                </a:lnTo>
                <a:lnTo>
                  <a:pt x="175041" y="218474"/>
                </a:lnTo>
                <a:lnTo>
                  <a:pt x="172610" y="223237"/>
                </a:lnTo>
                <a:lnTo>
                  <a:pt x="169773" y="227793"/>
                </a:lnTo>
                <a:lnTo>
                  <a:pt x="167140" y="232556"/>
                </a:lnTo>
                <a:lnTo>
                  <a:pt x="164303" y="237318"/>
                </a:lnTo>
                <a:lnTo>
                  <a:pt x="161264" y="241874"/>
                </a:lnTo>
                <a:lnTo>
                  <a:pt x="165924" y="241046"/>
                </a:lnTo>
                <a:lnTo>
                  <a:pt x="170381" y="240218"/>
                </a:lnTo>
                <a:lnTo>
                  <a:pt x="174838" y="238768"/>
                </a:lnTo>
                <a:lnTo>
                  <a:pt x="179296" y="237318"/>
                </a:lnTo>
                <a:lnTo>
                  <a:pt x="183550" y="235662"/>
                </a:lnTo>
                <a:lnTo>
                  <a:pt x="187805" y="233798"/>
                </a:lnTo>
                <a:lnTo>
                  <a:pt x="191655" y="231520"/>
                </a:lnTo>
                <a:lnTo>
                  <a:pt x="195504" y="229242"/>
                </a:lnTo>
                <a:lnTo>
                  <a:pt x="199353" y="226757"/>
                </a:lnTo>
                <a:lnTo>
                  <a:pt x="203203" y="223858"/>
                </a:lnTo>
                <a:lnTo>
                  <a:pt x="206647" y="221166"/>
                </a:lnTo>
                <a:lnTo>
                  <a:pt x="210091" y="218060"/>
                </a:lnTo>
                <a:lnTo>
                  <a:pt x="213130" y="214746"/>
                </a:lnTo>
                <a:lnTo>
                  <a:pt x="216170" y="211433"/>
                </a:lnTo>
                <a:lnTo>
                  <a:pt x="219209" y="207913"/>
                </a:lnTo>
                <a:lnTo>
                  <a:pt x="222045" y="204392"/>
                </a:lnTo>
                <a:close/>
                <a:moveTo>
                  <a:pt x="121756" y="204392"/>
                </a:moveTo>
                <a:lnTo>
                  <a:pt x="123767" y="209152"/>
                </a:lnTo>
                <a:lnTo>
                  <a:pt x="125978" y="213913"/>
                </a:lnTo>
                <a:lnTo>
                  <a:pt x="128391" y="218673"/>
                </a:lnTo>
                <a:lnTo>
                  <a:pt x="131005" y="223433"/>
                </a:lnTo>
                <a:lnTo>
                  <a:pt x="133819" y="228193"/>
                </a:lnTo>
                <a:lnTo>
                  <a:pt x="136835" y="233367"/>
                </a:lnTo>
                <a:lnTo>
                  <a:pt x="139851" y="238127"/>
                </a:lnTo>
                <a:lnTo>
                  <a:pt x="143068" y="242887"/>
                </a:lnTo>
                <a:lnTo>
                  <a:pt x="145280" y="242887"/>
                </a:lnTo>
                <a:lnTo>
                  <a:pt x="147893" y="242887"/>
                </a:lnTo>
                <a:lnTo>
                  <a:pt x="150507" y="242887"/>
                </a:lnTo>
                <a:lnTo>
                  <a:pt x="152920" y="242887"/>
                </a:lnTo>
                <a:lnTo>
                  <a:pt x="156137" y="238127"/>
                </a:lnTo>
                <a:lnTo>
                  <a:pt x="159354" y="232953"/>
                </a:lnTo>
                <a:lnTo>
                  <a:pt x="162169" y="228193"/>
                </a:lnTo>
                <a:lnTo>
                  <a:pt x="164983" y="223433"/>
                </a:lnTo>
                <a:lnTo>
                  <a:pt x="167798" y="218673"/>
                </a:lnTo>
                <a:lnTo>
                  <a:pt x="170211" y="213913"/>
                </a:lnTo>
                <a:lnTo>
                  <a:pt x="172422" y="209152"/>
                </a:lnTo>
                <a:lnTo>
                  <a:pt x="174433" y="204392"/>
                </a:lnTo>
                <a:close/>
                <a:moveTo>
                  <a:pt x="74145" y="204392"/>
                </a:moveTo>
                <a:lnTo>
                  <a:pt x="76991" y="207913"/>
                </a:lnTo>
                <a:lnTo>
                  <a:pt x="79837" y="211433"/>
                </a:lnTo>
                <a:lnTo>
                  <a:pt x="82886" y="214746"/>
                </a:lnTo>
                <a:lnTo>
                  <a:pt x="86139" y="218060"/>
                </a:lnTo>
                <a:lnTo>
                  <a:pt x="89594" y="221166"/>
                </a:lnTo>
                <a:lnTo>
                  <a:pt x="93050" y="224065"/>
                </a:lnTo>
                <a:lnTo>
                  <a:pt x="96912" y="226757"/>
                </a:lnTo>
                <a:lnTo>
                  <a:pt x="100572" y="229449"/>
                </a:lnTo>
                <a:lnTo>
                  <a:pt x="104434" y="231727"/>
                </a:lnTo>
                <a:lnTo>
                  <a:pt x="108500" y="233798"/>
                </a:lnTo>
                <a:lnTo>
                  <a:pt x="112768" y="235869"/>
                </a:lnTo>
                <a:lnTo>
                  <a:pt x="117037" y="237318"/>
                </a:lnTo>
                <a:lnTo>
                  <a:pt x="121306" y="238975"/>
                </a:lnTo>
                <a:lnTo>
                  <a:pt x="125778" y="240218"/>
                </a:lnTo>
                <a:lnTo>
                  <a:pt x="130251" y="241253"/>
                </a:lnTo>
                <a:lnTo>
                  <a:pt x="134926" y="241874"/>
                </a:lnTo>
                <a:lnTo>
                  <a:pt x="131674" y="237318"/>
                </a:lnTo>
                <a:lnTo>
                  <a:pt x="128828" y="232556"/>
                </a:lnTo>
                <a:lnTo>
                  <a:pt x="126185" y="227793"/>
                </a:lnTo>
                <a:lnTo>
                  <a:pt x="123542" y="223237"/>
                </a:lnTo>
                <a:lnTo>
                  <a:pt x="121103" y="218474"/>
                </a:lnTo>
                <a:lnTo>
                  <a:pt x="118867" y="213711"/>
                </a:lnTo>
                <a:lnTo>
                  <a:pt x="116834" y="209155"/>
                </a:lnTo>
                <a:lnTo>
                  <a:pt x="114801" y="204392"/>
                </a:lnTo>
                <a:close/>
                <a:moveTo>
                  <a:pt x="192700" y="157794"/>
                </a:moveTo>
                <a:lnTo>
                  <a:pt x="192294" y="163010"/>
                </a:lnTo>
                <a:lnTo>
                  <a:pt x="191480" y="167824"/>
                </a:lnTo>
                <a:lnTo>
                  <a:pt x="190667" y="172839"/>
                </a:lnTo>
                <a:lnTo>
                  <a:pt x="189447" y="178055"/>
                </a:lnTo>
                <a:lnTo>
                  <a:pt x="188430" y="183070"/>
                </a:lnTo>
                <a:lnTo>
                  <a:pt x="186804" y="188085"/>
                </a:lnTo>
                <a:lnTo>
                  <a:pt x="185380" y="193300"/>
                </a:lnTo>
                <a:lnTo>
                  <a:pt x="183550" y="198315"/>
                </a:lnTo>
                <a:lnTo>
                  <a:pt x="226049" y="198315"/>
                </a:lnTo>
                <a:lnTo>
                  <a:pt x="228692" y="193902"/>
                </a:lnTo>
                <a:lnTo>
                  <a:pt x="230929" y="189088"/>
                </a:lnTo>
                <a:lnTo>
                  <a:pt x="233166" y="184073"/>
                </a:lnTo>
                <a:lnTo>
                  <a:pt x="234996" y="179058"/>
                </a:lnTo>
                <a:lnTo>
                  <a:pt x="236623" y="174043"/>
                </a:lnTo>
                <a:lnTo>
                  <a:pt x="237639" y="168627"/>
                </a:lnTo>
                <a:lnTo>
                  <a:pt x="238656" y="163411"/>
                </a:lnTo>
                <a:lnTo>
                  <a:pt x="239266" y="157794"/>
                </a:lnTo>
                <a:close/>
                <a:moveTo>
                  <a:pt x="108587" y="157794"/>
                </a:moveTo>
                <a:lnTo>
                  <a:pt x="109195" y="163010"/>
                </a:lnTo>
                <a:lnTo>
                  <a:pt x="110005" y="167824"/>
                </a:lnTo>
                <a:lnTo>
                  <a:pt x="110816" y="172839"/>
                </a:lnTo>
                <a:lnTo>
                  <a:pt x="111829" y="178055"/>
                </a:lnTo>
                <a:lnTo>
                  <a:pt x="113247" y="183070"/>
                </a:lnTo>
                <a:lnTo>
                  <a:pt x="114868" y="188085"/>
                </a:lnTo>
                <a:lnTo>
                  <a:pt x="116691" y="193300"/>
                </a:lnTo>
                <a:lnTo>
                  <a:pt x="118312" y="198315"/>
                </a:lnTo>
                <a:lnTo>
                  <a:pt x="176864" y="198315"/>
                </a:lnTo>
                <a:lnTo>
                  <a:pt x="178688" y="193300"/>
                </a:lnTo>
                <a:lnTo>
                  <a:pt x="180511" y="188085"/>
                </a:lnTo>
                <a:lnTo>
                  <a:pt x="181929" y="183070"/>
                </a:lnTo>
                <a:lnTo>
                  <a:pt x="183347" y="178055"/>
                </a:lnTo>
                <a:lnTo>
                  <a:pt x="184360" y="172839"/>
                </a:lnTo>
                <a:lnTo>
                  <a:pt x="185373" y="167824"/>
                </a:lnTo>
                <a:lnTo>
                  <a:pt x="186184" y="163010"/>
                </a:lnTo>
                <a:lnTo>
                  <a:pt x="186589" y="157794"/>
                </a:lnTo>
                <a:close/>
                <a:moveTo>
                  <a:pt x="56923" y="157794"/>
                </a:moveTo>
                <a:lnTo>
                  <a:pt x="57733" y="163411"/>
                </a:lnTo>
                <a:lnTo>
                  <a:pt x="58746" y="168627"/>
                </a:lnTo>
                <a:lnTo>
                  <a:pt x="59962" y="174043"/>
                </a:lnTo>
                <a:lnTo>
                  <a:pt x="61380" y="179058"/>
                </a:lnTo>
                <a:lnTo>
                  <a:pt x="63406" y="184073"/>
                </a:lnTo>
                <a:lnTo>
                  <a:pt x="65432" y="189088"/>
                </a:lnTo>
                <a:lnTo>
                  <a:pt x="67864" y="193902"/>
                </a:lnTo>
                <a:lnTo>
                  <a:pt x="70700" y="198315"/>
                </a:lnTo>
                <a:lnTo>
                  <a:pt x="112639" y="198315"/>
                </a:lnTo>
                <a:lnTo>
                  <a:pt x="110816" y="193300"/>
                </a:lnTo>
                <a:lnTo>
                  <a:pt x="109195" y="188085"/>
                </a:lnTo>
                <a:lnTo>
                  <a:pt x="107574" y="183070"/>
                </a:lnTo>
                <a:lnTo>
                  <a:pt x="106561" y="178055"/>
                </a:lnTo>
                <a:lnTo>
                  <a:pt x="105345" y="172839"/>
                </a:lnTo>
                <a:lnTo>
                  <a:pt x="104535" y="168025"/>
                </a:lnTo>
                <a:lnTo>
                  <a:pt x="103927" y="163010"/>
                </a:lnTo>
                <a:lnTo>
                  <a:pt x="103319" y="157794"/>
                </a:lnTo>
                <a:close/>
                <a:moveTo>
                  <a:pt x="188615" y="110182"/>
                </a:moveTo>
                <a:lnTo>
                  <a:pt x="189821" y="115093"/>
                </a:lnTo>
                <a:lnTo>
                  <a:pt x="191027" y="120412"/>
                </a:lnTo>
                <a:lnTo>
                  <a:pt x="191831" y="125527"/>
                </a:lnTo>
                <a:lnTo>
                  <a:pt x="192635" y="130642"/>
                </a:lnTo>
                <a:lnTo>
                  <a:pt x="193238" y="135962"/>
                </a:lnTo>
                <a:lnTo>
                  <a:pt x="193439" y="141077"/>
                </a:lnTo>
                <a:lnTo>
                  <a:pt x="193439" y="146192"/>
                </a:lnTo>
                <a:lnTo>
                  <a:pt x="193439" y="151716"/>
                </a:lnTo>
                <a:lnTo>
                  <a:pt x="239266" y="151716"/>
                </a:lnTo>
                <a:lnTo>
                  <a:pt x="239266" y="151102"/>
                </a:lnTo>
                <a:lnTo>
                  <a:pt x="239266" y="150898"/>
                </a:lnTo>
                <a:lnTo>
                  <a:pt x="239065" y="145578"/>
                </a:lnTo>
                <a:lnTo>
                  <a:pt x="238663" y="140259"/>
                </a:lnTo>
                <a:lnTo>
                  <a:pt x="237859" y="134734"/>
                </a:lnTo>
                <a:lnTo>
                  <a:pt x="236854" y="129619"/>
                </a:lnTo>
                <a:lnTo>
                  <a:pt x="235447" y="124709"/>
                </a:lnTo>
                <a:lnTo>
                  <a:pt x="234040" y="119594"/>
                </a:lnTo>
                <a:lnTo>
                  <a:pt x="232030" y="114888"/>
                </a:lnTo>
                <a:lnTo>
                  <a:pt x="229819" y="110182"/>
                </a:lnTo>
                <a:close/>
                <a:moveTo>
                  <a:pt x="113855" y="110182"/>
                </a:moveTo>
                <a:lnTo>
                  <a:pt x="112234" y="115093"/>
                </a:lnTo>
                <a:lnTo>
                  <a:pt x="111221" y="120412"/>
                </a:lnTo>
                <a:lnTo>
                  <a:pt x="110410" y="125527"/>
                </a:lnTo>
                <a:lnTo>
                  <a:pt x="109397" y="130642"/>
                </a:lnTo>
                <a:lnTo>
                  <a:pt x="108992" y="135962"/>
                </a:lnTo>
                <a:lnTo>
                  <a:pt x="108587" y="141077"/>
                </a:lnTo>
                <a:lnTo>
                  <a:pt x="108587" y="146192"/>
                </a:lnTo>
                <a:lnTo>
                  <a:pt x="108587" y="151716"/>
                </a:lnTo>
                <a:lnTo>
                  <a:pt x="187602" y="151716"/>
                </a:lnTo>
                <a:lnTo>
                  <a:pt x="187602" y="146192"/>
                </a:lnTo>
                <a:lnTo>
                  <a:pt x="187602" y="141077"/>
                </a:lnTo>
                <a:lnTo>
                  <a:pt x="186994" y="135962"/>
                </a:lnTo>
                <a:lnTo>
                  <a:pt x="186589" y="130642"/>
                </a:lnTo>
                <a:lnTo>
                  <a:pt x="185779" y="125527"/>
                </a:lnTo>
                <a:lnTo>
                  <a:pt x="184766" y="120412"/>
                </a:lnTo>
                <a:lnTo>
                  <a:pt x="183753" y="115093"/>
                </a:lnTo>
                <a:lnTo>
                  <a:pt x="182132" y="110182"/>
                </a:lnTo>
                <a:close/>
                <a:moveTo>
                  <a:pt x="65365" y="110182"/>
                </a:moveTo>
                <a:lnTo>
                  <a:pt x="63556" y="114683"/>
                </a:lnTo>
                <a:lnTo>
                  <a:pt x="61948" y="119185"/>
                </a:lnTo>
                <a:lnTo>
                  <a:pt x="60340" y="123891"/>
                </a:lnTo>
                <a:lnTo>
                  <a:pt x="59134" y="128801"/>
                </a:lnTo>
                <a:lnTo>
                  <a:pt x="58129" y="133916"/>
                </a:lnTo>
                <a:lnTo>
                  <a:pt x="57526" y="138826"/>
                </a:lnTo>
                <a:lnTo>
                  <a:pt x="56923" y="143941"/>
                </a:lnTo>
                <a:lnTo>
                  <a:pt x="56923" y="149466"/>
                </a:lnTo>
                <a:lnTo>
                  <a:pt x="56923" y="150489"/>
                </a:lnTo>
                <a:lnTo>
                  <a:pt x="56923" y="151716"/>
                </a:lnTo>
                <a:lnTo>
                  <a:pt x="102750" y="151716"/>
                </a:lnTo>
                <a:lnTo>
                  <a:pt x="102750" y="146192"/>
                </a:lnTo>
                <a:lnTo>
                  <a:pt x="102750" y="141077"/>
                </a:lnTo>
                <a:lnTo>
                  <a:pt x="102951" y="135962"/>
                </a:lnTo>
                <a:lnTo>
                  <a:pt x="103755" y="130642"/>
                </a:lnTo>
                <a:lnTo>
                  <a:pt x="104358" y="125527"/>
                </a:lnTo>
                <a:lnTo>
                  <a:pt x="105162" y="120412"/>
                </a:lnTo>
                <a:lnTo>
                  <a:pt x="106368" y="115093"/>
                </a:lnTo>
                <a:lnTo>
                  <a:pt x="107574" y="110182"/>
                </a:lnTo>
                <a:close/>
                <a:moveTo>
                  <a:pt x="162276" y="61557"/>
                </a:moveTo>
                <a:lnTo>
                  <a:pt x="166113" y="66528"/>
                </a:lnTo>
                <a:lnTo>
                  <a:pt x="169951" y="71697"/>
                </a:lnTo>
                <a:lnTo>
                  <a:pt x="173182" y="77065"/>
                </a:lnTo>
                <a:lnTo>
                  <a:pt x="176413" y="82234"/>
                </a:lnTo>
                <a:lnTo>
                  <a:pt x="179241" y="87602"/>
                </a:lnTo>
                <a:lnTo>
                  <a:pt x="181664" y="92970"/>
                </a:lnTo>
                <a:lnTo>
                  <a:pt x="184088" y="98537"/>
                </a:lnTo>
                <a:lnTo>
                  <a:pt x="186108" y="104104"/>
                </a:lnTo>
                <a:lnTo>
                  <a:pt x="226096" y="104104"/>
                </a:lnTo>
                <a:lnTo>
                  <a:pt x="223471" y="99929"/>
                </a:lnTo>
                <a:lnTo>
                  <a:pt x="220643" y="96152"/>
                </a:lnTo>
                <a:lnTo>
                  <a:pt x="217412" y="92374"/>
                </a:lnTo>
                <a:lnTo>
                  <a:pt x="214180" y="88596"/>
                </a:lnTo>
                <a:lnTo>
                  <a:pt x="210747" y="85217"/>
                </a:lnTo>
                <a:lnTo>
                  <a:pt x="207112" y="82035"/>
                </a:lnTo>
                <a:lnTo>
                  <a:pt x="203274" y="79053"/>
                </a:lnTo>
                <a:lnTo>
                  <a:pt x="199235" y="76071"/>
                </a:lnTo>
                <a:lnTo>
                  <a:pt x="194994" y="73287"/>
                </a:lnTo>
                <a:lnTo>
                  <a:pt x="190753" y="70902"/>
                </a:lnTo>
                <a:lnTo>
                  <a:pt x="186310" y="68715"/>
                </a:lnTo>
                <a:lnTo>
                  <a:pt x="181664" y="66727"/>
                </a:lnTo>
                <a:lnTo>
                  <a:pt x="177019" y="65136"/>
                </a:lnTo>
                <a:lnTo>
                  <a:pt x="172172" y="63744"/>
                </a:lnTo>
                <a:lnTo>
                  <a:pt x="167123" y="62353"/>
                </a:lnTo>
                <a:close/>
                <a:moveTo>
                  <a:pt x="133912" y="61557"/>
                </a:moveTo>
                <a:lnTo>
                  <a:pt x="128661" y="62353"/>
                </a:lnTo>
                <a:lnTo>
                  <a:pt x="123409" y="63545"/>
                </a:lnTo>
                <a:lnTo>
                  <a:pt x="118562" y="64937"/>
                </a:lnTo>
                <a:lnTo>
                  <a:pt x="113715" y="66727"/>
                </a:lnTo>
                <a:lnTo>
                  <a:pt x="109069" y="68715"/>
                </a:lnTo>
                <a:lnTo>
                  <a:pt x="104424" y="70703"/>
                </a:lnTo>
                <a:lnTo>
                  <a:pt x="99981" y="73287"/>
                </a:lnTo>
                <a:lnTo>
                  <a:pt x="95739" y="75872"/>
                </a:lnTo>
                <a:lnTo>
                  <a:pt x="91700" y="78854"/>
                </a:lnTo>
                <a:lnTo>
                  <a:pt x="87862" y="81837"/>
                </a:lnTo>
                <a:lnTo>
                  <a:pt x="84227" y="85217"/>
                </a:lnTo>
                <a:lnTo>
                  <a:pt x="80793" y="88398"/>
                </a:lnTo>
                <a:lnTo>
                  <a:pt x="77562" y="92175"/>
                </a:lnTo>
                <a:lnTo>
                  <a:pt x="74330" y="96152"/>
                </a:lnTo>
                <a:lnTo>
                  <a:pt x="71503" y="99929"/>
                </a:lnTo>
                <a:lnTo>
                  <a:pt x="69079" y="104104"/>
                </a:lnTo>
                <a:lnTo>
                  <a:pt x="109877" y="104104"/>
                </a:lnTo>
                <a:lnTo>
                  <a:pt x="112099" y="98537"/>
                </a:lnTo>
                <a:lnTo>
                  <a:pt x="114321" y="92970"/>
                </a:lnTo>
                <a:lnTo>
                  <a:pt x="117148" y="87602"/>
                </a:lnTo>
                <a:lnTo>
                  <a:pt x="119774" y="82234"/>
                </a:lnTo>
                <a:lnTo>
                  <a:pt x="122804" y="76866"/>
                </a:lnTo>
                <a:lnTo>
                  <a:pt x="126439" y="71498"/>
                </a:lnTo>
                <a:lnTo>
                  <a:pt x="129873" y="66528"/>
                </a:lnTo>
                <a:close/>
                <a:moveTo>
                  <a:pt x="144106" y="59531"/>
                </a:moveTo>
                <a:lnTo>
                  <a:pt x="143084" y="59734"/>
                </a:lnTo>
                <a:lnTo>
                  <a:pt x="142266" y="59734"/>
                </a:lnTo>
                <a:lnTo>
                  <a:pt x="137971" y="65204"/>
                </a:lnTo>
                <a:lnTo>
                  <a:pt x="133880" y="70472"/>
                </a:lnTo>
                <a:lnTo>
                  <a:pt x="130199" y="75942"/>
                </a:lnTo>
                <a:lnTo>
                  <a:pt x="126518" y="81413"/>
                </a:lnTo>
                <a:lnTo>
                  <a:pt x="123450" y="87085"/>
                </a:lnTo>
                <a:lnTo>
                  <a:pt x="120382" y="92556"/>
                </a:lnTo>
                <a:lnTo>
                  <a:pt x="117928" y="98431"/>
                </a:lnTo>
                <a:lnTo>
                  <a:pt x="115678" y="104104"/>
                </a:lnTo>
                <a:lnTo>
                  <a:pt x="180511" y="104104"/>
                </a:lnTo>
                <a:lnTo>
                  <a:pt x="178261" y="98431"/>
                </a:lnTo>
                <a:lnTo>
                  <a:pt x="175807" y="92556"/>
                </a:lnTo>
                <a:lnTo>
                  <a:pt x="172944" y="87085"/>
                </a:lnTo>
                <a:lnTo>
                  <a:pt x="169671" y="81413"/>
                </a:lnTo>
                <a:lnTo>
                  <a:pt x="166195" y="75942"/>
                </a:lnTo>
                <a:lnTo>
                  <a:pt x="162309" y="70472"/>
                </a:lnTo>
                <a:lnTo>
                  <a:pt x="158218" y="65204"/>
                </a:lnTo>
                <a:lnTo>
                  <a:pt x="153923" y="59734"/>
                </a:lnTo>
                <a:lnTo>
                  <a:pt x="151060" y="59531"/>
                </a:lnTo>
                <a:lnTo>
                  <a:pt x="148197" y="59531"/>
                </a:lnTo>
                <a:lnTo>
                  <a:pt x="146152" y="59531"/>
                </a:lnTo>
                <a:close/>
                <a:moveTo>
                  <a:pt x="150179" y="0"/>
                </a:moveTo>
                <a:cubicBezTo>
                  <a:pt x="233121" y="0"/>
                  <a:pt x="300358" y="67237"/>
                  <a:pt x="300358" y="150179"/>
                </a:cubicBezTo>
                <a:cubicBezTo>
                  <a:pt x="300358" y="233121"/>
                  <a:pt x="233121" y="300358"/>
                  <a:pt x="150179" y="300358"/>
                </a:cubicBezTo>
                <a:cubicBezTo>
                  <a:pt x="67237" y="300358"/>
                  <a:pt x="0" y="233121"/>
                  <a:pt x="0" y="150179"/>
                </a:cubicBezTo>
                <a:cubicBezTo>
                  <a:pt x="0" y="67237"/>
                  <a:pt x="67237" y="0"/>
                  <a:pt x="15017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LT Arabic 55 Roman" panose="020B0604020202020204" pitchFamily="34" charset="-78"/>
              <a:ea typeface="+mn-ea"/>
              <a:cs typeface="HelveticaNeueLT Arabic 55 Roman" panose="020B0604020202020204" pitchFamily="34" charset="-78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57D472C-D433-4E56-B16E-C97C6F45C87F}"/>
              </a:ext>
            </a:extLst>
          </p:cNvPr>
          <p:cNvGrpSpPr/>
          <p:nvPr/>
        </p:nvGrpSpPr>
        <p:grpSpPr>
          <a:xfrm>
            <a:off x="10990903" y="3643366"/>
            <a:ext cx="338059" cy="336344"/>
            <a:chOff x="5682043" y="4553457"/>
            <a:chExt cx="287906" cy="286445"/>
          </a:xfrm>
          <a:solidFill>
            <a:schemeClr val="bg1"/>
          </a:solidFill>
        </p:grpSpPr>
        <p:sp>
          <p:nvSpPr>
            <p:cNvPr id="52" name="Freeform 155">
              <a:extLst>
                <a:ext uri="{FF2B5EF4-FFF2-40B4-BE49-F238E27FC236}">
                  <a16:creationId xmlns:a16="http://schemas.microsoft.com/office/drawing/2014/main" id="{CDB5D2BE-8914-46F8-B2B9-C334C9CA8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8880" y="4638221"/>
              <a:ext cx="26306" cy="27768"/>
            </a:xfrm>
            <a:custGeom>
              <a:avLst/>
              <a:gdLst>
                <a:gd name="T0" fmla="*/ 36 w 36"/>
                <a:gd name="T1" fmla="*/ 36 h 38"/>
                <a:gd name="T2" fmla="*/ 36 w 36"/>
                <a:gd name="T3" fmla="*/ 6 h 38"/>
                <a:gd name="T4" fmla="*/ 36 w 36"/>
                <a:gd name="T5" fmla="*/ 0 h 38"/>
                <a:gd name="T6" fmla="*/ 30 w 36"/>
                <a:gd name="T7" fmla="*/ 0 h 38"/>
                <a:gd name="T8" fmla="*/ 0 w 36"/>
                <a:gd name="T9" fmla="*/ 0 h 38"/>
                <a:gd name="T10" fmla="*/ 0 w 36"/>
                <a:gd name="T11" fmla="*/ 38 h 38"/>
                <a:gd name="T12" fmla="*/ 36 w 36"/>
                <a:gd name="T13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8">
                  <a:moveTo>
                    <a:pt x="36" y="36"/>
                  </a:move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3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endParaRPr>
            </a:p>
          </p:txBody>
        </p:sp>
        <p:sp>
          <p:nvSpPr>
            <p:cNvPr id="53" name="Freeform 156">
              <a:extLst>
                <a:ext uri="{FF2B5EF4-FFF2-40B4-BE49-F238E27FC236}">
                  <a16:creationId xmlns:a16="http://schemas.microsoft.com/office/drawing/2014/main" id="{679112E2-378C-410B-8C60-92BD53511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498" y="4671835"/>
              <a:ext cx="55535" cy="54074"/>
            </a:xfrm>
            <a:custGeom>
              <a:avLst/>
              <a:gdLst>
                <a:gd name="T0" fmla="*/ 38 w 76"/>
                <a:gd name="T1" fmla="*/ 74 h 74"/>
                <a:gd name="T2" fmla="*/ 38 w 76"/>
                <a:gd name="T3" fmla="*/ 74 h 74"/>
                <a:gd name="T4" fmla="*/ 44 w 76"/>
                <a:gd name="T5" fmla="*/ 74 h 74"/>
                <a:gd name="T6" fmla="*/ 52 w 76"/>
                <a:gd name="T7" fmla="*/ 72 h 74"/>
                <a:gd name="T8" fmla="*/ 58 w 76"/>
                <a:gd name="T9" fmla="*/ 68 h 74"/>
                <a:gd name="T10" fmla="*/ 64 w 76"/>
                <a:gd name="T11" fmla="*/ 64 h 74"/>
                <a:gd name="T12" fmla="*/ 68 w 76"/>
                <a:gd name="T13" fmla="*/ 58 h 74"/>
                <a:gd name="T14" fmla="*/ 72 w 76"/>
                <a:gd name="T15" fmla="*/ 52 h 74"/>
                <a:gd name="T16" fmla="*/ 74 w 76"/>
                <a:gd name="T17" fmla="*/ 44 h 74"/>
                <a:gd name="T18" fmla="*/ 76 w 76"/>
                <a:gd name="T19" fmla="*/ 38 h 74"/>
                <a:gd name="T20" fmla="*/ 76 w 76"/>
                <a:gd name="T21" fmla="*/ 38 h 74"/>
                <a:gd name="T22" fmla="*/ 74 w 76"/>
                <a:gd name="T23" fmla="*/ 26 h 74"/>
                <a:gd name="T24" fmla="*/ 68 w 76"/>
                <a:gd name="T25" fmla="*/ 16 h 74"/>
                <a:gd name="T26" fmla="*/ 68 w 76"/>
                <a:gd name="T27" fmla="*/ 16 h 74"/>
                <a:gd name="T28" fmla="*/ 62 w 76"/>
                <a:gd name="T29" fmla="*/ 8 h 74"/>
                <a:gd name="T30" fmla="*/ 54 w 76"/>
                <a:gd name="T31" fmla="*/ 4 h 74"/>
                <a:gd name="T32" fmla="*/ 46 w 76"/>
                <a:gd name="T33" fmla="*/ 0 h 74"/>
                <a:gd name="T34" fmla="*/ 38 w 76"/>
                <a:gd name="T35" fmla="*/ 0 h 74"/>
                <a:gd name="T36" fmla="*/ 38 w 76"/>
                <a:gd name="T37" fmla="*/ 0 h 74"/>
                <a:gd name="T38" fmla="*/ 28 w 76"/>
                <a:gd name="T39" fmla="*/ 0 h 74"/>
                <a:gd name="T40" fmla="*/ 20 w 76"/>
                <a:gd name="T41" fmla="*/ 4 h 74"/>
                <a:gd name="T42" fmla="*/ 12 w 76"/>
                <a:gd name="T43" fmla="*/ 8 h 74"/>
                <a:gd name="T44" fmla="*/ 6 w 76"/>
                <a:gd name="T45" fmla="*/ 16 h 74"/>
                <a:gd name="T46" fmla="*/ 6 w 76"/>
                <a:gd name="T47" fmla="*/ 16 h 74"/>
                <a:gd name="T48" fmla="*/ 2 w 76"/>
                <a:gd name="T49" fmla="*/ 26 h 74"/>
                <a:gd name="T50" fmla="*/ 0 w 76"/>
                <a:gd name="T51" fmla="*/ 38 h 74"/>
                <a:gd name="T52" fmla="*/ 0 w 76"/>
                <a:gd name="T53" fmla="*/ 38 h 74"/>
                <a:gd name="T54" fmla="*/ 0 w 76"/>
                <a:gd name="T55" fmla="*/ 44 h 74"/>
                <a:gd name="T56" fmla="*/ 2 w 76"/>
                <a:gd name="T57" fmla="*/ 52 h 74"/>
                <a:gd name="T58" fmla="*/ 6 w 76"/>
                <a:gd name="T59" fmla="*/ 58 h 74"/>
                <a:gd name="T60" fmla="*/ 10 w 76"/>
                <a:gd name="T61" fmla="*/ 64 h 74"/>
                <a:gd name="T62" fmla="*/ 16 w 76"/>
                <a:gd name="T63" fmla="*/ 68 h 74"/>
                <a:gd name="T64" fmla="*/ 22 w 76"/>
                <a:gd name="T65" fmla="*/ 72 h 74"/>
                <a:gd name="T66" fmla="*/ 30 w 76"/>
                <a:gd name="T67" fmla="*/ 74 h 74"/>
                <a:gd name="T68" fmla="*/ 38 w 76"/>
                <a:gd name="T69" fmla="*/ 74 h 74"/>
                <a:gd name="T70" fmla="*/ 38 w 76"/>
                <a:gd name="T7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6" h="74">
                  <a:moveTo>
                    <a:pt x="38" y="74"/>
                  </a:moveTo>
                  <a:lnTo>
                    <a:pt x="38" y="74"/>
                  </a:lnTo>
                  <a:lnTo>
                    <a:pt x="44" y="74"/>
                  </a:lnTo>
                  <a:lnTo>
                    <a:pt x="52" y="72"/>
                  </a:lnTo>
                  <a:lnTo>
                    <a:pt x="58" y="68"/>
                  </a:lnTo>
                  <a:lnTo>
                    <a:pt x="64" y="64"/>
                  </a:lnTo>
                  <a:lnTo>
                    <a:pt x="68" y="58"/>
                  </a:lnTo>
                  <a:lnTo>
                    <a:pt x="72" y="52"/>
                  </a:lnTo>
                  <a:lnTo>
                    <a:pt x="74" y="44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4" y="2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2" y="8"/>
                  </a:lnTo>
                  <a:lnTo>
                    <a:pt x="54" y="4"/>
                  </a:lnTo>
                  <a:lnTo>
                    <a:pt x="46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28" y="0"/>
                  </a:lnTo>
                  <a:lnTo>
                    <a:pt x="20" y="4"/>
                  </a:lnTo>
                  <a:lnTo>
                    <a:pt x="12" y="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4"/>
                  </a:lnTo>
                  <a:lnTo>
                    <a:pt x="2" y="52"/>
                  </a:lnTo>
                  <a:lnTo>
                    <a:pt x="6" y="58"/>
                  </a:lnTo>
                  <a:lnTo>
                    <a:pt x="10" y="64"/>
                  </a:lnTo>
                  <a:lnTo>
                    <a:pt x="16" y="68"/>
                  </a:lnTo>
                  <a:lnTo>
                    <a:pt x="22" y="72"/>
                  </a:lnTo>
                  <a:lnTo>
                    <a:pt x="30" y="74"/>
                  </a:lnTo>
                  <a:lnTo>
                    <a:pt x="38" y="74"/>
                  </a:lnTo>
                  <a:lnTo>
                    <a:pt x="38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endParaRPr>
            </a:p>
          </p:txBody>
        </p:sp>
        <p:sp>
          <p:nvSpPr>
            <p:cNvPr id="54" name="Freeform 157">
              <a:extLst>
                <a:ext uri="{FF2B5EF4-FFF2-40B4-BE49-F238E27FC236}">
                  <a16:creationId xmlns:a16="http://schemas.microsoft.com/office/drawing/2014/main" id="{B32F965E-3527-4129-8352-DFD8C0FDC2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2043" y="4553457"/>
              <a:ext cx="287906" cy="286445"/>
            </a:xfrm>
            <a:custGeom>
              <a:avLst/>
              <a:gdLst>
                <a:gd name="T0" fmla="*/ 196 w 393"/>
                <a:gd name="T1" fmla="*/ 0 h 391"/>
                <a:gd name="T2" fmla="*/ 156 w 393"/>
                <a:gd name="T3" fmla="*/ 4 h 391"/>
                <a:gd name="T4" fmla="*/ 120 w 393"/>
                <a:gd name="T5" fmla="*/ 14 h 391"/>
                <a:gd name="T6" fmla="*/ 86 w 393"/>
                <a:gd name="T7" fmla="*/ 32 h 391"/>
                <a:gd name="T8" fmla="*/ 58 w 393"/>
                <a:gd name="T9" fmla="*/ 56 h 391"/>
                <a:gd name="T10" fmla="*/ 32 w 393"/>
                <a:gd name="T11" fmla="*/ 86 h 391"/>
                <a:gd name="T12" fmla="*/ 14 w 393"/>
                <a:gd name="T13" fmla="*/ 120 h 391"/>
                <a:gd name="T14" fmla="*/ 4 w 393"/>
                <a:gd name="T15" fmla="*/ 156 h 391"/>
                <a:gd name="T16" fmla="*/ 0 w 393"/>
                <a:gd name="T17" fmla="*/ 196 h 391"/>
                <a:gd name="T18" fmla="*/ 0 w 393"/>
                <a:gd name="T19" fmla="*/ 216 h 391"/>
                <a:gd name="T20" fmla="*/ 8 w 393"/>
                <a:gd name="T21" fmla="*/ 254 h 391"/>
                <a:gd name="T22" fmla="*/ 24 w 393"/>
                <a:gd name="T23" fmla="*/ 290 h 391"/>
                <a:gd name="T24" fmla="*/ 44 w 393"/>
                <a:gd name="T25" fmla="*/ 321 h 391"/>
                <a:gd name="T26" fmla="*/ 70 w 393"/>
                <a:gd name="T27" fmla="*/ 347 h 391"/>
                <a:gd name="T28" fmla="*/ 102 w 393"/>
                <a:gd name="T29" fmla="*/ 369 h 391"/>
                <a:gd name="T30" fmla="*/ 138 w 393"/>
                <a:gd name="T31" fmla="*/ 383 h 391"/>
                <a:gd name="T32" fmla="*/ 176 w 393"/>
                <a:gd name="T33" fmla="*/ 391 h 391"/>
                <a:gd name="T34" fmla="*/ 196 w 393"/>
                <a:gd name="T35" fmla="*/ 391 h 391"/>
                <a:gd name="T36" fmla="*/ 236 w 393"/>
                <a:gd name="T37" fmla="*/ 387 h 391"/>
                <a:gd name="T38" fmla="*/ 272 w 393"/>
                <a:gd name="T39" fmla="*/ 377 h 391"/>
                <a:gd name="T40" fmla="*/ 305 w 393"/>
                <a:gd name="T41" fmla="*/ 359 h 391"/>
                <a:gd name="T42" fmla="*/ 335 w 393"/>
                <a:gd name="T43" fmla="*/ 335 h 391"/>
                <a:gd name="T44" fmla="*/ 359 w 393"/>
                <a:gd name="T45" fmla="*/ 306 h 391"/>
                <a:gd name="T46" fmla="*/ 377 w 393"/>
                <a:gd name="T47" fmla="*/ 272 h 391"/>
                <a:gd name="T48" fmla="*/ 389 w 393"/>
                <a:gd name="T49" fmla="*/ 236 h 391"/>
                <a:gd name="T50" fmla="*/ 393 w 393"/>
                <a:gd name="T51" fmla="*/ 196 h 391"/>
                <a:gd name="T52" fmla="*/ 391 w 393"/>
                <a:gd name="T53" fmla="*/ 176 h 391"/>
                <a:gd name="T54" fmla="*/ 383 w 393"/>
                <a:gd name="T55" fmla="*/ 138 h 391"/>
                <a:gd name="T56" fmla="*/ 369 w 393"/>
                <a:gd name="T57" fmla="*/ 102 h 391"/>
                <a:gd name="T58" fmla="*/ 347 w 393"/>
                <a:gd name="T59" fmla="*/ 70 h 391"/>
                <a:gd name="T60" fmla="*/ 321 w 393"/>
                <a:gd name="T61" fmla="*/ 44 h 391"/>
                <a:gd name="T62" fmla="*/ 290 w 393"/>
                <a:gd name="T63" fmla="*/ 22 h 391"/>
                <a:gd name="T64" fmla="*/ 254 w 393"/>
                <a:gd name="T65" fmla="*/ 8 h 391"/>
                <a:gd name="T66" fmla="*/ 216 w 393"/>
                <a:gd name="T67" fmla="*/ 0 h 391"/>
                <a:gd name="T68" fmla="*/ 196 w 393"/>
                <a:gd name="T69" fmla="*/ 0 h 391"/>
                <a:gd name="T70" fmla="*/ 301 w 393"/>
                <a:gd name="T71" fmla="*/ 264 h 391"/>
                <a:gd name="T72" fmla="*/ 301 w 393"/>
                <a:gd name="T73" fmla="*/ 274 h 391"/>
                <a:gd name="T74" fmla="*/ 296 w 393"/>
                <a:gd name="T75" fmla="*/ 288 h 391"/>
                <a:gd name="T76" fmla="*/ 284 w 393"/>
                <a:gd name="T77" fmla="*/ 300 h 391"/>
                <a:gd name="T78" fmla="*/ 270 w 393"/>
                <a:gd name="T79" fmla="*/ 306 h 391"/>
                <a:gd name="T80" fmla="*/ 130 w 393"/>
                <a:gd name="T81" fmla="*/ 306 h 391"/>
                <a:gd name="T82" fmla="*/ 122 w 393"/>
                <a:gd name="T83" fmla="*/ 306 h 391"/>
                <a:gd name="T84" fmla="*/ 106 w 393"/>
                <a:gd name="T85" fmla="*/ 300 h 391"/>
                <a:gd name="T86" fmla="*/ 96 w 393"/>
                <a:gd name="T87" fmla="*/ 288 h 391"/>
                <a:gd name="T88" fmla="*/ 90 w 393"/>
                <a:gd name="T89" fmla="*/ 274 h 391"/>
                <a:gd name="T90" fmla="*/ 88 w 393"/>
                <a:gd name="T91" fmla="*/ 178 h 391"/>
                <a:gd name="T92" fmla="*/ 88 w 393"/>
                <a:gd name="T93" fmla="*/ 134 h 391"/>
                <a:gd name="T94" fmla="*/ 92 w 393"/>
                <a:gd name="T95" fmla="*/ 118 h 391"/>
                <a:gd name="T96" fmla="*/ 100 w 393"/>
                <a:gd name="T97" fmla="*/ 104 h 391"/>
                <a:gd name="T98" fmla="*/ 114 w 393"/>
                <a:gd name="T99" fmla="*/ 96 h 391"/>
                <a:gd name="T100" fmla="*/ 130 w 393"/>
                <a:gd name="T101" fmla="*/ 92 h 391"/>
                <a:gd name="T102" fmla="*/ 262 w 393"/>
                <a:gd name="T103" fmla="*/ 92 h 391"/>
                <a:gd name="T104" fmla="*/ 278 w 393"/>
                <a:gd name="T105" fmla="*/ 96 h 391"/>
                <a:gd name="T106" fmla="*/ 290 w 393"/>
                <a:gd name="T107" fmla="*/ 104 h 391"/>
                <a:gd name="T108" fmla="*/ 300 w 393"/>
                <a:gd name="T109" fmla="*/ 118 h 391"/>
                <a:gd name="T110" fmla="*/ 301 w 393"/>
                <a:gd name="T111" fmla="*/ 134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93" h="391">
                  <a:moveTo>
                    <a:pt x="196" y="0"/>
                  </a:moveTo>
                  <a:lnTo>
                    <a:pt x="196" y="0"/>
                  </a:lnTo>
                  <a:lnTo>
                    <a:pt x="176" y="0"/>
                  </a:lnTo>
                  <a:lnTo>
                    <a:pt x="156" y="4"/>
                  </a:lnTo>
                  <a:lnTo>
                    <a:pt x="138" y="8"/>
                  </a:lnTo>
                  <a:lnTo>
                    <a:pt x="120" y="14"/>
                  </a:lnTo>
                  <a:lnTo>
                    <a:pt x="102" y="22"/>
                  </a:lnTo>
                  <a:lnTo>
                    <a:pt x="86" y="32"/>
                  </a:lnTo>
                  <a:lnTo>
                    <a:pt x="70" y="44"/>
                  </a:lnTo>
                  <a:lnTo>
                    <a:pt x="58" y="56"/>
                  </a:lnTo>
                  <a:lnTo>
                    <a:pt x="44" y="70"/>
                  </a:lnTo>
                  <a:lnTo>
                    <a:pt x="32" y="86"/>
                  </a:lnTo>
                  <a:lnTo>
                    <a:pt x="24" y="102"/>
                  </a:lnTo>
                  <a:lnTo>
                    <a:pt x="14" y="120"/>
                  </a:lnTo>
                  <a:lnTo>
                    <a:pt x="8" y="138"/>
                  </a:lnTo>
                  <a:lnTo>
                    <a:pt x="4" y="156"/>
                  </a:lnTo>
                  <a:lnTo>
                    <a:pt x="0" y="176"/>
                  </a:lnTo>
                  <a:lnTo>
                    <a:pt x="0" y="196"/>
                  </a:lnTo>
                  <a:lnTo>
                    <a:pt x="0" y="196"/>
                  </a:lnTo>
                  <a:lnTo>
                    <a:pt x="0" y="216"/>
                  </a:lnTo>
                  <a:lnTo>
                    <a:pt x="4" y="236"/>
                  </a:lnTo>
                  <a:lnTo>
                    <a:pt x="8" y="254"/>
                  </a:lnTo>
                  <a:lnTo>
                    <a:pt x="14" y="272"/>
                  </a:lnTo>
                  <a:lnTo>
                    <a:pt x="24" y="290"/>
                  </a:lnTo>
                  <a:lnTo>
                    <a:pt x="32" y="306"/>
                  </a:lnTo>
                  <a:lnTo>
                    <a:pt x="44" y="321"/>
                  </a:lnTo>
                  <a:lnTo>
                    <a:pt x="58" y="335"/>
                  </a:lnTo>
                  <a:lnTo>
                    <a:pt x="70" y="347"/>
                  </a:lnTo>
                  <a:lnTo>
                    <a:pt x="86" y="359"/>
                  </a:lnTo>
                  <a:lnTo>
                    <a:pt x="102" y="369"/>
                  </a:lnTo>
                  <a:lnTo>
                    <a:pt x="120" y="377"/>
                  </a:lnTo>
                  <a:lnTo>
                    <a:pt x="138" y="383"/>
                  </a:lnTo>
                  <a:lnTo>
                    <a:pt x="156" y="387"/>
                  </a:lnTo>
                  <a:lnTo>
                    <a:pt x="176" y="391"/>
                  </a:lnTo>
                  <a:lnTo>
                    <a:pt x="196" y="391"/>
                  </a:lnTo>
                  <a:lnTo>
                    <a:pt x="196" y="391"/>
                  </a:lnTo>
                  <a:lnTo>
                    <a:pt x="216" y="391"/>
                  </a:lnTo>
                  <a:lnTo>
                    <a:pt x="236" y="387"/>
                  </a:lnTo>
                  <a:lnTo>
                    <a:pt x="254" y="383"/>
                  </a:lnTo>
                  <a:lnTo>
                    <a:pt x="272" y="377"/>
                  </a:lnTo>
                  <a:lnTo>
                    <a:pt x="290" y="369"/>
                  </a:lnTo>
                  <a:lnTo>
                    <a:pt x="305" y="359"/>
                  </a:lnTo>
                  <a:lnTo>
                    <a:pt x="321" y="347"/>
                  </a:lnTo>
                  <a:lnTo>
                    <a:pt x="335" y="335"/>
                  </a:lnTo>
                  <a:lnTo>
                    <a:pt x="347" y="321"/>
                  </a:lnTo>
                  <a:lnTo>
                    <a:pt x="359" y="306"/>
                  </a:lnTo>
                  <a:lnTo>
                    <a:pt x="369" y="290"/>
                  </a:lnTo>
                  <a:lnTo>
                    <a:pt x="377" y="272"/>
                  </a:lnTo>
                  <a:lnTo>
                    <a:pt x="383" y="254"/>
                  </a:lnTo>
                  <a:lnTo>
                    <a:pt x="389" y="236"/>
                  </a:lnTo>
                  <a:lnTo>
                    <a:pt x="391" y="216"/>
                  </a:lnTo>
                  <a:lnTo>
                    <a:pt x="393" y="196"/>
                  </a:lnTo>
                  <a:lnTo>
                    <a:pt x="393" y="196"/>
                  </a:lnTo>
                  <a:lnTo>
                    <a:pt x="391" y="176"/>
                  </a:lnTo>
                  <a:lnTo>
                    <a:pt x="389" y="156"/>
                  </a:lnTo>
                  <a:lnTo>
                    <a:pt x="383" y="138"/>
                  </a:lnTo>
                  <a:lnTo>
                    <a:pt x="377" y="120"/>
                  </a:lnTo>
                  <a:lnTo>
                    <a:pt x="369" y="102"/>
                  </a:lnTo>
                  <a:lnTo>
                    <a:pt x="359" y="86"/>
                  </a:lnTo>
                  <a:lnTo>
                    <a:pt x="347" y="70"/>
                  </a:lnTo>
                  <a:lnTo>
                    <a:pt x="335" y="56"/>
                  </a:lnTo>
                  <a:lnTo>
                    <a:pt x="321" y="44"/>
                  </a:lnTo>
                  <a:lnTo>
                    <a:pt x="305" y="32"/>
                  </a:lnTo>
                  <a:lnTo>
                    <a:pt x="290" y="22"/>
                  </a:lnTo>
                  <a:lnTo>
                    <a:pt x="272" y="14"/>
                  </a:lnTo>
                  <a:lnTo>
                    <a:pt x="254" y="8"/>
                  </a:lnTo>
                  <a:lnTo>
                    <a:pt x="236" y="4"/>
                  </a:lnTo>
                  <a:lnTo>
                    <a:pt x="216" y="0"/>
                  </a:lnTo>
                  <a:lnTo>
                    <a:pt x="196" y="0"/>
                  </a:lnTo>
                  <a:lnTo>
                    <a:pt x="196" y="0"/>
                  </a:lnTo>
                  <a:close/>
                  <a:moveTo>
                    <a:pt x="301" y="178"/>
                  </a:moveTo>
                  <a:lnTo>
                    <a:pt x="301" y="264"/>
                  </a:lnTo>
                  <a:lnTo>
                    <a:pt x="301" y="264"/>
                  </a:lnTo>
                  <a:lnTo>
                    <a:pt x="301" y="274"/>
                  </a:lnTo>
                  <a:lnTo>
                    <a:pt x="300" y="280"/>
                  </a:lnTo>
                  <a:lnTo>
                    <a:pt x="296" y="288"/>
                  </a:lnTo>
                  <a:lnTo>
                    <a:pt x="290" y="294"/>
                  </a:lnTo>
                  <a:lnTo>
                    <a:pt x="284" y="300"/>
                  </a:lnTo>
                  <a:lnTo>
                    <a:pt x="278" y="302"/>
                  </a:lnTo>
                  <a:lnTo>
                    <a:pt x="270" y="306"/>
                  </a:lnTo>
                  <a:lnTo>
                    <a:pt x="262" y="306"/>
                  </a:lnTo>
                  <a:lnTo>
                    <a:pt x="130" y="306"/>
                  </a:lnTo>
                  <a:lnTo>
                    <a:pt x="130" y="306"/>
                  </a:lnTo>
                  <a:lnTo>
                    <a:pt x="122" y="306"/>
                  </a:lnTo>
                  <a:lnTo>
                    <a:pt x="114" y="302"/>
                  </a:lnTo>
                  <a:lnTo>
                    <a:pt x="106" y="300"/>
                  </a:lnTo>
                  <a:lnTo>
                    <a:pt x="100" y="294"/>
                  </a:lnTo>
                  <a:lnTo>
                    <a:pt x="96" y="288"/>
                  </a:lnTo>
                  <a:lnTo>
                    <a:pt x="92" y="280"/>
                  </a:lnTo>
                  <a:lnTo>
                    <a:pt x="90" y="274"/>
                  </a:lnTo>
                  <a:lnTo>
                    <a:pt x="88" y="264"/>
                  </a:lnTo>
                  <a:lnTo>
                    <a:pt x="88" y="178"/>
                  </a:lnTo>
                  <a:lnTo>
                    <a:pt x="88" y="134"/>
                  </a:lnTo>
                  <a:lnTo>
                    <a:pt x="88" y="134"/>
                  </a:lnTo>
                  <a:lnTo>
                    <a:pt x="90" y="124"/>
                  </a:lnTo>
                  <a:lnTo>
                    <a:pt x="92" y="118"/>
                  </a:lnTo>
                  <a:lnTo>
                    <a:pt x="96" y="110"/>
                  </a:lnTo>
                  <a:lnTo>
                    <a:pt x="100" y="104"/>
                  </a:lnTo>
                  <a:lnTo>
                    <a:pt x="106" y="98"/>
                  </a:lnTo>
                  <a:lnTo>
                    <a:pt x="114" y="96"/>
                  </a:lnTo>
                  <a:lnTo>
                    <a:pt x="122" y="92"/>
                  </a:lnTo>
                  <a:lnTo>
                    <a:pt x="130" y="92"/>
                  </a:lnTo>
                  <a:lnTo>
                    <a:pt x="262" y="92"/>
                  </a:lnTo>
                  <a:lnTo>
                    <a:pt x="262" y="92"/>
                  </a:lnTo>
                  <a:lnTo>
                    <a:pt x="270" y="92"/>
                  </a:lnTo>
                  <a:lnTo>
                    <a:pt x="278" y="96"/>
                  </a:lnTo>
                  <a:lnTo>
                    <a:pt x="284" y="98"/>
                  </a:lnTo>
                  <a:lnTo>
                    <a:pt x="290" y="104"/>
                  </a:lnTo>
                  <a:lnTo>
                    <a:pt x="296" y="110"/>
                  </a:lnTo>
                  <a:lnTo>
                    <a:pt x="300" y="118"/>
                  </a:lnTo>
                  <a:lnTo>
                    <a:pt x="301" y="124"/>
                  </a:lnTo>
                  <a:lnTo>
                    <a:pt x="301" y="134"/>
                  </a:lnTo>
                  <a:lnTo>
                    <a:pt x="301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endParaRPr>
            </a:p>
          </p:txBody>
        </p:sp>
        <p:sp>
          <p:nvSpPr>
            <p:cNvPr id="57" name="Freeform 158">
              <a:extLst>
                <a:ext uri="{FF2B5EF4-FFF2-40B4-BE49-F238E27FC236}">
                  <a16:creationId xmlns:a16="http://schemas.microsoft.com/office/drawing/2014/main" id="{76AF41FD-C073-4ED2-A324-A8F2AFF7D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2424" y="4683527"/>
              <a:ext cx="125685" cy="78919"/>
            </a:xfrm>
            <a:custGeom>
              <a:avLst/>
              <a:gdLst>
                <a:gd name="T0" fmla="*/ 144 w 172"/>
                <a:gd name="T1" fmla="*/ 22 h 108"/>
                <a:gd name="T2" fmla="*/ 144 w 172"/>
                <a:gd name="T3" fmla="*/ 22 h 108"/>
                <a:gd name="T4" fmla="*/ 142 w 172"/>
                <a:gd name="T5" fmla="*/ 32 h 108"/>
                <a:gd name="T6" fmla="*/ 140 w 172"/>
                <a:gd name="T7" fmla="*/ 44 h 108"/>
                <a:gd name="T8" fmla="*/ 134 w 172"/>
                <a:gd name="T9" fmla="*/ 54 h 108"/>
                <a:gd name="T10" fmla="*/ 126 w 172"/>
                <a:gd name="T11" fmla="*/ 62 h 108"/>
                <a:gd name="T12" fmla="*/ 118 w 172"/>
                <a:gd name="T13" fmla="*/ 70 h 108"/>
                <a:gd name="T14" fmla="*/ 108 w 172"/>
                <a:gd name="T15" fmla="*/ 74 h 108"/>
                <a:gd name="T16" fmla="*/ 98 w 172"/>
                <a:gd name="T17" fmla="*/ 78 h 108"/>
                <a:gd name="T18" fmla="*/ 86 w 172"/>
                <a:gd name="T19" fmla="*/ 80 h 108"/>
                <a:gd name="T20" fmla="*/ 86 w 172"/>
                <a:gd name="T21" fmla="*/ 80 h 108"/>
                <a:gd name="T22" fmla="*/ 74 w 172"/>
                <a:gd name="T23" fmla="*/ 78 h 108"/>
                <a:gd name="T24" fmla="*/ 62 w 172"/>
                <a:gd name="T25" fmla="*/ 74 h 108"/>
                <a:gd name="T26" fmla="*/ 52 w 172"/>
                <a:gd name="T27" fmla="*/ 70 h 108"/>
                <a:gd name="T28" fmla="*/ 44 w 172"/>
                <a:gd name="T29" fmla="*/ 62 h 108"/>
                <a:gd name="T30" fmla="*/ 36 w 172"/>
                <a:gd name="T31" fmla="*/ 54 h 108"/>
                <a:gd name="T32" fmla="*/ 32 w 172"/>
                <a:gd name="T33" fmla="*/ 44 h 108"/>
                <a:gd name="T34" fmla="*/ 28 w 172"/>
                <a:gd name="T35" fmla="*/ 32 h 108"/>
                <a:gd name="T36" fmla="*/ 26 w 172"/>
                <a:gd name="T37" fmla="*/ 22 h 108"/>
                <a:gd name="T38" fmla="*/ 26 w 172"/>
                <a:gd name="T39" fmla="*/ 22 h 108"/>
                <a:gd name="T40" fmla="*/ 28 w 172"/>
                <a:gd name="T41" fmla="*/ 10 h 108"/>
                <a:gd name="T42" fmla="*/ 32 w 172"/>
                <a:gd name="T43" fmla="*/ 0 h 108"/>
                <a:gd name="T44" fmla="*/ 0 w 172"/>
                <a:gd name="T45" fmla="*/ 0 h 108"/>
                <a:gd name="T46" fmla="*/ 0 w 172"/>
                <a:gd name="T47" fmla="*/ 86 h 108"/>
                <a:gd name="T48" fmla="*/ 0 w 172"/>
                <a:gd name="T49" fmla="*/ 86 h 108"/>
                <a:gd name="T50" fmla="*/ 0 w 172"/>
                <a:gd name="T51" fmla="*/ 94 h 108"/>
                <a:gd name="T52" fmla="*/ 6 w 172"/>
                <a:gd name="T53" fmla="*/ 102 h 108"/>
                <a:gd name="T54" fmla="*/ 12 w 172"/>
                <a:gd name="T55" fmla="*/ 106 h 108"/>
                <a:gd name="T56" fmla="*/ 20 w 172"/>
                <a:gd name="T57" fmla="*/ 108 h 108"/>
                <a:gd name="T58" fmla="*/ 152 w 172"/>
                <a:gd name="T59" fmla="*/ 108 h 108"/>
                <a:gd name="T60" fmla="*/ 152 w 172"/>
                <a:gd name="T61" fmla="*/ 108 h 108"/>
                <a:gd name="T62" fmla="*/ 160 w 172"/>
                <a:gd name="T63" fmla="*/ 106 h 108"/>
                <a:gd name="T64" fmla="*/ 166 w 172"/>
                <a:gd name="T65" fmla="*/ 102 h 108"/>
                <a:gd name="T66" fmla="*/ 170 w 172"/>
                <a:gd name="T67" fmla="*/ 94 h 108"/>
                <a:gd name="T68" fmla="*/ 172 w 172"/>
                <a:gd name="T69" fmla="*/ 86 h 108"/>
                <a:gd name="T70" fmla="*/ 172 w 172"/>
                <a:gd name="T71" fmla="*/ 0 h 108"/>
                <a:gd name="T72" fmla="*/ 140 w 172"/>
                <a:gd name="T73" fmla="*/ 0 h 108"/>
                <a:gd name="T74" fmla="*/ 140 w 172"/>
                <a:gd name="T75" fmla="*/ 0 h 108"/>
                <a:gd name="T76" fmla="*/ 142 w 172"/>
                <a:gd name="T77" fmla="*/ 10 h 108"/>
                <a:gd name="T78" fmla="*/ 144 w 172"/>
                <a:gd name="T79" fmla="*/ 22 h 108"/>
                <a:gd name="T80" fmla="*/ 144 w 172"/>
                <a:gd name="T81" fmla="*/ 2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2" h="108">
                  <a:moveTo>
                    <a:pt x="144" y="22"/>
                  </a:moveTo>
                  <a:lnTo>
                    <a:pt x="144" y="22"/>
                  </a:lnTo>
                  <a:lnTo>
                    <a:pt x="142" y="32"/>
                  </a:lnTo>
                  <a:lnTo>
                    <a:pt x="140" y="44"/>
                  </a:lnTo>
                  <a:lnTo>
                    <a:pt x="134" y="54"/>
                  </a:lnTo>
                  <a:lnTo>
                    <a:pt x="126" y="62"/>
                  </a:lnTo>
                  <a:lnTo>
                    <a:pt x="118" y="70"/>
                  </a:lnTo>
                  <a:lnTo>
                    <a:pt x="108" y="74"/>
                  </a:lnTo>
                  <a:lnTo>
                    <a:pt x="98" y="78"/>
                  </a:lnTo>
                  <a:lnTo>
                    <a:pt x="86" y="80"/>
                  </a:lnTo>
                  <a:lnTo>
                    <a:pt x="86" y="80"/>
                  </a:lnTo>
                  <a:lnTo>
                    <a:pt x="74" y="78"/>
                  </a:lnTo>
                  <a:lnTo>
                    <a:pt x="62" y="74"/>
                  </a:lnTo>
                  <a:lnTo>
                    <a:pt x="52" y="70"/>
                  </a:lnTo>
                  <a:lnTo>
                    <a:pt x="44" y="62"/>
                  </a:lnTo>
                  <a:lnTo>
                    <a:pt x="36" y="54"/>
                  </a:lnTo>
                  <a:lnTo>
                    <a:pt x="32" y="44"/>
                  </a:lnTo>
                  <a:lnTo>
                    <a:pt x="28" y="3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8" y="10"/>
                  </a:lnTo>
                  <a:lnTo>
                    <a:pt x="32" y="0"/>
                  </a:lnTo>
                  <a:lnTo>
                    <a:pt x="0" y="0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94"/>
                  </a:lnTo>
                  <a:lnTo>
                    <a:pt x="6" y="102"/>
                  </a:lnTo>
                  <a:lnTo>
                    <a:pt x="12" y="106"/>
                  </a:lnTo>
                  <a:lnTo>
                    <a:pt x="20" y="108"/>
                  </a:lnTo>
                  <a:lnTo>
                    <a:pt x="152" y="108"/>
                  </a:lnTo>
                  <a:lnTo>
                    <a:pt x="152" y="108"/>
                  </a:lnTo>
                  <a:lnTo>
                    <a:pt x="160" y="106"/>
                  </a:lnTo>
                  <a:lnTo>
                    <a:pt x="166" y="102"/>
                  </a:lnTo>
                  <a:lnTo>
                    <a:pt x="170" y="94"/>
                  </a:lnTo>
                  <a:lnTo>
                    <a:pt x="172" y="86"/>
                  </a:lnTo>
                  <a:lnTo>
                    <a:pt x="172" y="0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42" y="10"/>
                  </a:lnTo>
                  <a:lnTo>
                    <a:pt x="144" y="22"/>
                  </a:lnTo>
                  <a:lnTo>
                    <a:pt x="144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HelveticaNeueLT Arabic 55 Roman" panose="020B0604020202020204" pitchFamily="34" charset="-78"/>
                <a:ea typeface="+mn-ea"/>
                <a:cs typeface="HelveticaNeueLT Arabic 55 Roman" panose="020B0604020202020204" pitchFamily="34" charset="-78"/>
              </a:endParaRPr>
            </a:p>
          </p:txBody>
        </p:sp>
      </p:grpSp>
      <p:sp>
        <p:nvSpPr>
          <p:cNvPr id="59" name="Freeform 78">
            <a:extLst>
              <a:ext uri="{FF2B5EF4-FFF2-40B4-BE49-F238E27FC236}">
                <a16:creationId xmlns:a16="http://schemas.microsoft.com/office/drawing/2014/main" id="{5B2D09EC-9078-42F2-9BE9-59BDC07C2BAA}"/>
              </a:ext>
            </a:extLst>
          </p:cNvPr>
          <p:cNvSpPr/>
          <p:nvPr/>
        </p:nvSpPr>
        <p:spPr>
          <a:xfrm>
            <a:off x="10990514" y="4385070"/>
            <a:ext cx="338836" cy="338836"/>
          </a:xfrm>
          <a:custGeom>
            <a:avLst/>
            <a:gdLst>
              <a:gd name="connsiteX0" fmla="*/ 94021 w 288000"/>
              <a:gd name="connsiteY0" fmla="*/ 62164 h 288000"/>
              <a:gd name="connsiteX1" fmla="*/ 92152 w 288000"/>
              <a:gd name="connsiteY1" fmla="*/ 62352 h 288000"/>
              <a:gd name="connsiteX2" fmla="*/ 90097 w 288000"/>
              <a:gd name="connsiteY2" fmla="*/ 62540 h 288000"/>
              <a:gd name="connsiteX3" fmla="*/ 88416 w 288000"/>
              <a:gd name="connsiteY3" fmla="*/ 63103 h 288000"/>
              <a:gd name="connsiteX4" fmla="*/ 86547 w 288000"/>
              <a:gd name="connsiteY4" fmla="*/ 63854 h 288000"/>
              <a:gd name="connsiteX5" fmla="*/ 84866 w 288000"/>
              <a:gd name="connsiteY5" fmla="*/ 64604 h 288000"/>
              <a:gd name="connsiteX6" fmla="*/ 83371 w 288000"/>
              <a:gd name="connsiteY6" fmla="*/ 65355 h 288000"/>
              <a:gd name="connsiteX7" fmla="*/ 81690 w 288000"/>
              <a:gd name="connsiteY7" fmla="*/ 66669 h 288000"/>
              <a:gd name="connsiteX8" fmla="*/ 80382 w 288000"/>
              <a:gd name="connsiteY8" fmla="*/ 67983 h 288000"/>
              <a:gd name="connsiteX9" fmla="*/ 70666 w 288000"/>
              <a:gd name="connsiteY9" fmla="*/ 77555 h 288000"/>
              <a:gd name="connsiteX10" fmla="*/ 69171 w 288000"/>
              <a:gd name="connsiteY10" fmla="*/ 79245 h 288000"/>
              <a:gd name="connsiteX11" fmla="*/ 67677 w 288000"/>
              <a:gd name="connsiteY11" fmla="*/ 81309 h 288000"/>
              <a:gd name="connsiteX12" fmla="*/ 66369 w 288000"/>
              <a:gd name="connsiteY12" fmla="*/ 83374 h 288000"/>
              <a:gd name="connsiteX13" fmla="*/ 65248 w 288000"/>
              <a:gd name="connsiteY13" fmla="*/ 85439 h 288000"/>
              <a:gd name="connsiteX14" fmla="*/ 64314 w 288000"/>
              <a:gd name="connsiteY14" fmla="*/ 87503 h 288000"/>
              <a:gd name="connsiteX15" fmla="*/ 63753 w 288000"/>
              <a:gd name="connsiteY15" fmla="*/ 89756 h 288000"/>
              <a:gd name="connsiteX16" fmla="*/ 63193 w 288000"/>
              <a:gd name="connsiteY16" fmla="*/ 92196 h 288000"/>
              <a:gd name="connsiteX17" fmla="*/ 62819 w 288000"/>
              <a:gd name="connsiteY17" fmla="*/ 94448 h 288000"/>
              <a:gd name="connsiteX18" fmla="*/ 62632 w 288000"/>
              <a:gd name="connsiteY18" fmla="*/ 96888 h 288000"/>
              <a:gd name="connsiteX19" fmla="*/ 62632 w 288000"/>
              <a:gd name="connsiteY19" fmla="*/ 99141 h 288000"/>
              <a:gd name="connsiteX20" fmla="*/ 63193 w 288000"/>
              <a:gd name="connsiteY20" fmla="*/ 101393 h 288000"/>
              <a:gd name="connsiteX21" fmla="*/ 63566 w 288000"/>
              <a:gd name="connsiteY21" fmla="*/ 103645 h 288000"/>
              <a:gd name="connsiteX22" fmla="*/ 64127 w 288000"/>
              <a:gd name="connsiteY22" fmla="*/ 106085 h 288000"/>
              <a:gd name="connsiteX23" fmla="*/ 64874 w 288000"/>
              <a:gd name="connsiteY23" fmla="*/ 108338 h 288000"/>
              <a:gd name="connsiteX24" fmla="*/ 66182 w 288000"/>
              <a:gd name="connsiteY24" fmla="*/ 110402 h 288000"/>
              <a:gd name="connsiteX25" fmla="*/ 67303 w 288000"/>
              <a:gd name="connsiteY25" fmla="*/ 112467 h 288000"/>
              <a:gd name="connsiteX26" fmla="*/ 72721 w 288000"/>
              <a:gd name="connsiteY26" fmla="*/ 120350 h 288000"/>
              <a:gd name="connsiteX27" fmla="*/ 78326 w 288000"/>
              <a:gd name="connsiteY27" fmla="*/ 128234 h 288000"/>
              <a:gd name="connsiteX28" fmla="*/ 84118 w 288000"/>
              <a:gd name="connsiteY28" fmla="*/ 136117 h 288000"/>
              <a:gd name="connsiteX29" fmla="*/ 90097 w 288000"/>
              <a:gd name="connsiteY29" fmla="*/ 143625 h 288000"/>
              <a:gd name="connsiteX30" fmla="*/ 96450 w 288000"/>
              <a:gd name="connsiteY30" fmla="*/ 150945 h 288000"/>
              <a:gd name="connsiteX31" fmla="*/ 102615 w 288000"/>
              <a:gd name="connsiteY31" fmla="*/ 158265 h 288000"/>
              <a:gd name="connsiteX32" fmla="*/ 109155 w 288000"/>
              <a:gd name="connsiteY32" fmla="*/ 165210 h 288000"/>
              <a:gd name="connsiteX33" fmla="*/ 116068 w 288000"/>
              <a:gd name="connsiteY33" fmla="*/ 172343 h 288000"/>
              <a:gd name="connsiteX34" fmla="*/ 122794 w 288000"/>
              <a:gd name="connsiteY34" fmla="*/ 179100 h 288000"/>
              <a:gd name="connsiteX35" fmla="*/ 130081 w 288000"/>
              <a:gd name="connsiteY35" fmla="*/ 185669 h 288000"/>
              <a:gd name="connsiteX36" fmla="*/ 137180 w 288000"/>
              <a:gd name="connsiteY36" fmla="*/ 192051 h 288000"/>
              <a:gd name="connsiteX37" fmla="*/ 144654 w 288000"/>
              <a:gd name="connsiteY37" fmla="*/ 198245 h 288000"/>
              <a:gd name="connsiteX38" fmla="*/ 152127 w 288000"/>
              <a:gd name="connsiteY38" fmla="*/ 204251 h 288000"/>
              <a:gd name="connsiteX39" fmla="*/ 159601 w 288000"/>
              <a:gd name="connsiteY39" fmla="*/ 210257 h 288000"/>
              <a:gd name="connsiteX40" fmla="*/ 167448 w 288000"/>
              <a:gd name="connsiteY40" fmla="*/ 215888 h 288000"/>
              <a:gd name="connsiteX41" fmla="*/ 175482 w 288000"/>
              <a:gd name="connsiteY41" fmla="*/ 221332 h 288000"/>
              <a:gd name="connsiteX42" fmla="*/ 177351 w 288000"/>
              <a:gd name="connsiteY42" fmla="*/ 222270 h 288000"/>
              <a:gd name="connsiteX43" fmla="*/ 178845 w 288000"/>
              <a:gd name="connsiteY43" fmla="*/ 223208 h 288000"/>
              <a:gd name="connsiteX44" fmla="*/ 180901 w 288000"/>
              <a:gd name="connsiteY44" fmla="*/ 224147 h 288000"/>
              <a:gd name="connsiteX45" fmla="*/ 182769 w 288000"/>
              <a:gd name="connsiteY45" fmla="*/ 224710 h 288000"/>
              <a:gd name="connsiteX46" fmla="*/ 184824 w 288000"/>
              <a:gd name="connsiteY46" fmla="*/ 225085 h 288000"/>
              <a:gd name="connsiteX47" fmla="*/ 186693 w 288000"/>
              <a:gd name="connsiteY47" fmla="*/ 225461 h 288000"/>
              <a:gd name="connsiteX48" fmla="*/ 188748 w 288000"/>
              <a:gd name="connsiteY48" fmla="*/ 225649 h 288000"/>
              <a:gd name="connsiteX49" fmla="*/ 190803 w 288000"/>
              <a:gd name="connsiteY49" fmla="*/ 225836 h 288000"/>
              <a:gd name="connsiteX50" fmla="*/ 193606 w 288000"/>
              <a:gd name="connsiteY50" fmla="*/ 225649 h 288000"/>
              <a:gd name="connsiteX51" fmla="*/ 196221 w 288000"/>
              <a:gd name="connsiteY51" fmla="*/ 225273 h 288000"/>
              <a:gd name="connsiteX52" fmla="*/ 198837 w 288000"/>
              <a:gd name="connsiteY52" fmla="*/ 224710 h 288000"/>
              <a:gd name="connsiteX53" fmla="*/ 201453 w 288000"/>
              <a:gd name="connsiteY53" fmla="*/ 223584 h 288000"/>
              <a:gd name="connsiteX54" fmla="*/ 203695 w 288000"/>
              <a:gd name="connsiteY54" fmla="*/ 222645 h 288000"/>
              <a:gd name="connsiteX55" fmla="*/ 205937 w 288000"/>
              <a:gd name="connsiteY55" fmla="*/ 221332 h 288000"/>
              <a:gd name="connsiteX56" fmla="*/ 208179 w 288000"/>
              <a:gd name="connsiteY56" fmla="*/ 219642 h 288000"/>
              <a:gd name="connsiteX57" fmla="*/ 210234 w 288000"/>
              <a:gd name="connsiteY57" fmla="*/ 217765 h 288000"/>
              <a:gd name="connsiteX58" fmla="*/ 219763 w 288000"/>
              <a:gd name="connsiteY58" fmla="*/ 208005 h 288000"/>
              <a:gd name="connsiteX59" fmla="*/ 221258 w 288000"/>
              <a:gd name="connsiteY59" fmla="*/ 206503 h 288000"/>
              <a:gd name="connsiteX60" fmla="*/ 222192 w 288000"/>
              <a:gd name="connsiteY60" fmla="*/ 205002 h 288000"/>
              <a:gd name="connsiteX61" fmla="*/ 223126 w 288000"/>
              <a:gd name="connsiteY61" fmla="*/ 203313 h 288000"/>
              <a:gd name="connsiteX62" fmla="*/ 224060 w 288000"/>
              <a:gd name="connsiteY62" fmla="*/ 201811 h 288000"/>
              <a:gd name="connsiteX63" fmla="*/ 224621 w 288000"/>
              <a:gd name="connsiteY63" fmla="*/ 199934 h 288000"/>
              <a:gd name="connsiteX64" fmla="*/ 225181 w 288000"/>
              <a:gd name="connsiteY64" fmla="*/ 198057 h 288000"/>
              <a:gd name="connsiteX65" fmla="*/ 225368 w 288000"/>
              <a:gd name="connsiteY65" fmla="*/ 196368 h 288000"/>
              <a:gd name="connsiteX66" fmla="*/ 225368 w 288000"/>
              <a:gd name="connsiteY66" fmla="*/ 194303 h 288000"/>
              <a:gd name="connsiteX67" fmla="*/ 225368 w 288000"/>
              <a:gd name="connsiteY67" fmla="*/ 192426 h 288000"/>
              <a:gd name="connsiteX68" fmla="*/ 225181 w 288000"/>
              <a:gd name="connsiteY68" fmla="*/ 190737 h 288000"/>
              <a:gd name="connsiteX69" fmla="*/ 224621 w 288000"/>
              <a:gd name="connsiteY69" fmla="*/ 188860 h 288000"/>
              <a:gd name="connsiteX70" fmla="*/ 224060 w 288000"/>
              <a:gd name="connsiteY70" fmla="*/ 186983 h 288000"/>
              <a:gd name="connsiteX71" fmla="*/ 223126 w 288000"/>
              <a:gd name="connsiteY71" fmla="*/ 185294 h 288000"/>
              <a:gd name="connsiteX72" fmla="*/ 222192 w 288000"/>
              <a:gd name="connsiteY72" fmla="*/ 183604 h 288000"/>
              <a:gd name="connsiteX73" fmla="*/ 221258 w 288000"/>
              <a:gd name="connsiteY73" fmla="*/ 181915 h 288000"/>
              <a:gd name="connsiteX74" fmla="*/ 219763 w 288000"/>
              <a:gd name="connsiteY74" fmla="*/ 180601 h 288000"/>
              <a:gd name="connsiteX75" fmla="*/ 202387 w 288000"/>
              <a:gd name="connsiteY75" fmla="*/ 163145 h 288000"/>
              <a:gd name="connsiteX76" fmla="*/ 200892 w 288000"/>
              <a:gd name="connsiteY76" fmla="*/ 161644 h 288000"/>
              <a:gd name="connsiteX77" fmla="*/ 199398 w 288000"/>
              <a:gd name="connsiteY77" fmla="*/ 160705 h 288000"/>
              <a:gd name="connsiteX78" fmla="*/ 197716 w 288000"/>
              <a:gd name="connsiteY78" fmla="*/ 159579 h 288000"/>
              <a:gd name="connsiteX79" fmla="*/ 196034 w 288000"/>
              <a:gd name="connsiteY79" fmla="*/ 158828 h 288000"/>
              <a:gd name="connsiteX80" fmla="*/ 194353 w 288000"/>
              <a:gd name="connsiteY80" fmla="*/ 158078 h 288000"/>
              <a:gd name="connsiteX81" fmla="*/ 192298 w 288000"/>
              <a:gd name="connsiteY81" fmla="*/ 157702 h 288000"/>
              <a:gd name="connsiteX82" fmla="*/ 190616 w 288000"/>
              <a:gd name="connsiteY82" fmla="*/ 157514 h 288000"/>
              <a:gd name="connsiteX83" fmla="*/ 188561 w 288000"/>
              <a:gd name="connsiteY83" fmla="*/ 157139 h 288000"/>
              <a:gd name="connsiteX84" fmla="*/ 186693 w 288000"/>
              <a:gd name="connsiteY84" fmla="*/ 157514 h 288000"/>
              <a:gd name="connsiteX85" fmla="*/ 184824 w 288000"/>
              <a:gd name="connsiteY85" fmla="*/ 157702 h 288000"/>
              <a:gd name="connsiteX86" fmla="*/ 182956 w 288000"/>
              <a:gd name="connsiteY86" fmla="*/ 158078 h 288000"/>
              <a:gd name="connsiteX87" fmla="*/ 181087 w 288000"/>
              <a:gd name="connsiteY87" fmla="*/ 158828 h 288000"/>
              <a:gd name="connsiteX88" fmla="*/ 179593 w 288000"/>
              <a:gd name="connsiteY88" fmla="*/ 159579 h 288000"/>
              <a:gd name="connsiteX89" fmla="*/ 177911 w 288000"/>
              <a:gd name="connsiteY89" fmla="*/ 160705 h 288000"/>
              <a:gd name="connsiteX90" fmla="*/ 176416 w 288000"/>
              <a:gd name="connsiteY90" fmla="*/ 161644 h 288000"/>
              <a:gd name="connsiteX91" fmla="*/ 174922 w 288000"/>
              <a:gd name="connsiteY91" fmla="*/ 163145 h 288000"/>
              <a:gd name="connsiteX92" fmla="*/ 170998 w 288000"/>
              <a:gd name="connsiteY92" fmla="*/ 167087 h 288000"/>
              <a:gd name="connsiteX93" fmla="*/ 164272 w 288000"/>
              <a:gd name="connsiteY93" fmla="*/ 161456 h 288000"/>
              <a:gd name="connsiteX94" fmla="*/ 157733 w 288000"/>
              <a:gd name="connsiteY94" fmla="*/ 155450 h 288000"/>
              <a:gd name="connsiteX95" fmla="*/ 151193 w 288000"/>
              <a:gd name="connsiteY95" fmla="*/ 149443 h 288000"/>
              <a:gd name="connsiteX96" fmla="*/ 144841 w 288000"/>
              <a:gd name="connsiteY96" fmla="*/ 143062 h 288000"/>
              <a:gd name="connsiteX97" fmla="*/ 138675 w 288000"/>
              <a:gd name="connsiteY97" fmla="*/ 136868 h 288000"/>
              <a:gd name="connsiteX98" fmla="*/ 132696 w 288000"/>
              <a:gd name="connsiteY98" fmla="*/ 130486 h 288000"/>
              <a:gd name="connsiteX99" fmla="*/ 126904 w 288000"/>
              <a:gd name="connsiteY99" fmla="*/ 123729 h 288000"/>
              <a:gd name="connsiteX100" fmla="*/ 121299 w 288000"/>
              <a:gd name="connsiteY100" fmla="*/ 117160 h 288000"/>
              <a:gd name="connsiteX101" fmla="*/ 125223 w 288000"/>
              <a:gd name="connsiteY101" fmla="*/ 113030 h 288000"/>
              <a:gd name="connsiteX102" fmla="*/ 126718 w 288000"/>
              <a:gd name="connsiteY102" fmla="*/ 111529 h 288000"/>
              <a:gd name="connsiteX103" fmla="*/ 127652 w 288000"/>
              <a:gd name="connsiteY103" fmla="*/ 109839 h 288000"/>
              <a:gd name="connsiteX104" fmla="*/ 128586 w 288000"/>
              <a:gd name="connsiteY104" fmla="*/ 108338 h 288000"/>
              <a:gd name="connsiteX105" fmla="*/ 129520 w 288000"/>
              <a:gd name="connsiteY105" fmla="*/ 106648 h 288000"/>
              <a:gd name="connsiteX106" fmla="*/ 130081 w 288000"/>
              <a:gd name="connsiteY106" fmla="*/ 104959 h 288000"/>
              <a:gd name="connsiteX107" fmla="*/ 130641 w 288000"/>
              <a:gd name="connsiteY107" fmla="*/ 103082 h 288000"/>
              <a:gd name="connsiteX108" fmla="*/ 130828 w 288000"/>
              <a:gd name="connsiteY108" fmla="*/ 101018 h 288000"/>
              <a:gd name="connsiteX109" fmla="*/ 130828 w 288000"/>
              <a:gd name="connsiteY109" fmla="*/ 99328 h 288000"/>
              <a:gd name="connsiteX110" fmla="*/ 130828 w 288000"/>
              <a:gd name="connsiteY110" fmla="*/ 97451 h 288000"/>
              <a:gd name="connsiteX111" fmla="*/ 130641 w 288000"/>
              <a:gd name="connsiteY111" fmla="*/ 95574 h 288000"/>
              <a:gd name="connsiteX112" fmla="*/ 130081 w 288000"/>
              <a:gd name="connsiteY112" fmla="*/ 93885 h 288000"/>
              <a:gd name="connsiteX113" fmla="*/ 129520 w 288000"/>
              <a:gd name="connsiteY113" fmla="*/ 92008 h 288000"/>
              <a:gd name="connsiteX114" fmla="*/ 128586 w 288000"/>
              <a:gd name="connsiteY114" fmla="*/ 90131 h 288000"/>
              <a:gd name="connsiteX115" fmla="*/ 127652 w 288000"/>
              <a:gd name="connsiteY115" fmla="*/ 88630 h 288000"/>
              <a:gd name="connsiteX116" fmla="*/ 126718 w 288000"/>
              <a:gd name="connsiteY116" fmla="*/ 86940 h 288000"/>
              <a:gd name="connsiteX117" fmla="*/ 125223 w 288000"/>
              <a:gd name="connsiteY117" fmla="*/ 85626 h 288000"/>
              <a:gd name="connsiteX118" fmla="*/ 107847 w 288000"/>
              <a:gd name="connsiteY118" fmla="*/ 67795 h 288000"/>
              <a:gd name="connsiteX119" fmla="*/ 106165 w 288000"/>
              <a:gd name="connsiteY119" fmla="*/ 66669 h 288000"/>
              <a:gd name="connsiteX120" fmla="*/ 104857 w 288000"/>
              <a:gd name="connsiteY120" fmla="*/ 65355 h 288000"/>
              <a:gd name="connsiteX121" fmla="*/ 103176 w 288000"/>
              <a:gd name="connsiteY121" fmla="*/ 64604 h 288000"/>
              <a:gd name="connsiteX122" fmla="*/ 101308 w 288000"/>
              <a:gd name="connsiteY122" fmla="*/ 63854 h 288000"/>
              <a:gd name="connsiteX123" fmla="*/ 99626 w 288000"/>
              <a:gd name="connsiteY123" fmla="*/ 63103 h 288000"/>
              <a:gd name="connsiteX124" fmla="*/ 97758 w 288000"/>
              <a:gd name="connsiteY124" fmla="*/ 62540 h 288000"/>
              <a:gd name="connsiteX125" fmla="*/ 95889 w 288000"/>
              <a:gd name="connsiteY125" fmla="*/ 62352 h 288000"/>
              <a:gd name="connsiteX126" fmla="*/ 144000 w 288000"/>
              <a:gd name="connsiteY126" fmla="*/ 0 h 288000"/>
              <a:gd name="connsiteX127" fmla="*/ 288000 w 288000"/>
              <a:gd name="connsiteY127" fmla="*/ 144000 h 288000"/>
              <a:gd name="connsiteX128" fmla="*/ 144000 w 288000"/>
              <a:gd name="connsiteY128" fmla="*/ 288000 h 288000"/>
              <a:gd name="connsiteX129" fmla="*/ 0 w 288000"/>
              <a:gd name="connsiteY129" fmla="*/ 144000 h 288000"/>
              <a:gd name="connsiteX130" fmla="*/ 144000 w 288000"/>
              <a:gd name="connsiteY130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288000" h="288000">
                <a:moveTo>
                  <a:pt x="94021" y="62164"/>
                </a:moveTo>
                <a:lnTo>
                  <a:pt x="92152" y="62352"/>
                </a:lnTo>
                <a:lnTo>
                  <a:pt x="90097" y="62540"/>
                </a:lnTo>
                <a:lnTo>
                  <a:pt x="88416" y="63103"/>
                </a:lnTo>
                <a:lnTo>
                  <a:pt x="86547" y="63854"/>
                </a:lnTo>
                <a:lnTo>
                  <a:pt x="84866" y="64604"/>
                </a:lnTo>
                <a:lnTo>
                  <a:pt x="83371" y="65355"/>
                </a:lnTo>
                <a:lnTo>
                  <a:pt x="81690" y="66669"/>
                </a:lnTo>
                <a:lnTo>
                  <a:pt x="80382" y="67983"/>
                </a:lnTo>
                <a:lnTo>
                  <a:pt x="70666" y="77555"/>
                </a:lnTo>
                <a:lnTo>
                  <a:pt x="69171" y="79245"/>
                </a:lnTo>
                <a:lnTo>
                  <a:pt x="67677" y="81309"/>
                </a:lnTo>
                <a:lnTo>
                  <a:pt x="66369" y="83374"/>
                </a:lnTo>
                <a:lnTo>
                  <a:pt x="65248" y="85439"/>
                </a:lnTo>
                <a:lnTo>
                  <a:pt x="64314" y="87503"/>
                </a:lnTo>
                <a:lnTo>
                  <a:pt x="63753" y="89756"/>
                </a:lnTo>
                <a:lnTo>
                  <a:pt x="63193" y="92196"/>
                </a:lnTo>
                <a:lnTo>
                  <a:pt x="62819" y="94448"/>
                </a:lnTo>
                <a:lnTo>
                  <a:pt x="62632" y="96888"/>
                </a:lnTo>
                <a:lnTo>
                  <a:pt x="62632" y="99141"/>
                </a:lnTo>
                <a:lnTo>
                  <a:pt x="63193" y="101393"/>
                </a:lnTo>
                <a:lnTo>
                  <a:pt x="63566" y="103645"/>
                </a:lnTo>
                <a:lnTo>
                  <a:pt x="64127" y="106085"/>
                </a:lnTo>
                <a:lnTo>
                  <a:pt x="64874" y="108338"/>
                </a:lnTo>
                <a:lnTo>
                  <a:pt x="66182" y="110402"/>
                </a:lnTo>
                <a:lnTo>
                  <a:pt x="67303" y="112467"/>
                </a:lnTo>
                <a:lnTo>
                  <a:pt x="72721" y="120350"/>
                </a:lnTo>
                <a:lnTo>
                  <a:pt x="78326" y="128234"/>
                </a:lnTo>
                <a:lnTo>
                  <a:pt x="84118" y="136117"/>
                </a:lnTo>
                <a:lnTo>
                  <a:pt x="90097" y="143625"/>
                </a:lnTo>
                <a:lnTo>
                  <a:pt x="96450" y="150945"/>
                </a:lnTo>
                <a:lnTo>
                  <a:pt x="102615" y="158265"/>
                </a:lnTo>
                <a:lnTo>
                  <a:pt x="109155" y="165210"/>
                </a:lnTo>
                <a:lnTo>
                  <a:pt x="116068" y="172343"/>
                </a:lnTo>
                <a:lnTo>
                  <a:pt x="122794" y="179100"/>
                </a:lnTo>
                <a:lnTo>
                  <a:pt x="130081" y="185669"/>
                </a:lnTo>
                <a:lnTo>
                  <a:pt x="137180" y="192051"/>
                </a:lnTo>
                <a:lnTo>
                  <a:pt x="144654" y="198245"/>
                </a:lnTo>
                <a:lnTo>
                  <a:pt x="152127" y="204251"/>
                </a:lnTo>
                <a:lnTo>
                  <a:pt x="159601" y="210257"/>
                </a:lnTo>
                <a:lnTo>
                  <a:pt x="167448" y="215888"/>
                </a:lnTo>
                <a:lnTo>
                  <a:pt x="175482" y="221332"/>
                </a:lnTo>
                <a:lnTo>
                  <a:pt x="177351" y="222270"/>
                </a:lnTo>
                <a:lnTo>
                  <a:pt x="178845" y="223208"/>
                </a:lnTo>
                <a:lnTo>
                  <a:pt x="180901" y="224147"/>
                </a:lnTo>
                <a:lnTo>
                  <a:pt x="182769" y="224710"/>
                </a:lnTo>
                <a:lnTo>
                  <a:pt x="184824" y="225085"/>
                </a:lnTo>
                <a:lnTo>
                  <a:pt x="186693" y="225461"/>
                </a:lnTo>
                <a:lnTo>
                  <a:pt x="188748" y="225649"/>
                </a:lnTo>
                <a:lnTo>
                  <a:pt x="190803" y="225836"/>
                </a:lnTo>
                <a:lnTo>
                  <a:pt x="193606" y="225649"/>
                </a:lnTo>
                <a:lnTo>
                  <a:pt x="196221" y="225273"/>
                </a:lnTo>
                <a:lnTo>
                  <a:pt x="198837" y="224710"/>
                </a:lnTo>
                <a:lnTo>
                  <a:pt x="201453" y="223584"/>
                </a:lnTo>
                <a:lnTo>
                  <a:pt x="203695" y="222645"/>
                </a:lnTo>
                <a:lnTo>
                  <a:pt x="205937" y="221332"/>
                </a:lnTo>
                <a:lnTo>
                  <a:pt x="208179" y="219642"/>
                </a:lnTo>
                <a:lnTo>
                  <a:pt x="210234" y="217765"/>
                </a:lnTo>
                <a:lnTo>
                  <a:pt x="219763" y="208005"/>
                </a:lnTo>
                <a:lnTo>
                  <a:pt x="221258" y="206503"/>
                </a:lnTo>
                <a:lnTo>
                  <a:pt x="222192" y="205002"/>
                </a:lnTo>
                <a:lnTo>
                  <a:pt x="223126" y="203313"/>
                </a:lnTo>
                <a:lnTo>
                  <a:pt x="224060" y="201811"/>
                </a:lnTo>
                <a:lnTo>
                  <a:pt x="224621" y="199934"/>
                </a:lnTo>
                <a:lnTo>
                  <a:pt x="225181" y="198057"/>
                </a:lnTo>
                <a:lnTo>
                  <a:pt x="225368" y="196368"/>
                </a:lnTo>
                <a:lnTo>
                  <a:pt x="225368" y="194303"/>
                </a:lnTo>
                <a:lnTo>
                  <a:pt x="225368" y="192426"/>
                </a:lnTo>
                <a:lnTo>
                  <a:pt x="225181" y="190737"/>
                </a:lnTo>
                <a:lnTo>
                  <a:pt x="224621" y="188860"/>
                </a:lnTo>
                <a:lnTo>
                  <a:pt x="224060" y="186983"/>
                </a:lnTo>
                <a:lnTo>
                  <a:pt x="223126" y="185294"/>
                </a:lnTo>
                <a:lnTo>
                  <a:pt x="222192" y="183604"/>
                </a:lnTo>
                <a:lnTo>
                  <a:pt x="221258" y="181915"/>
                </a:lnTo>
                <a:lnTo>
                  <a:pt x="219763" y="180601"/>
                </a:lnTo>
                <a:lnTo>
                  <a:pt x="202387" y="163145"/>
                </a:lnTo>
                <a:lnTo>
                  <a:pt x="200892" y="161644"/>
                </a:lnTo>
                <a:lnTo>
                  <a:pt x="199398" y="160705"/>
                </a:lnTo>
                <a:lnTo>
                  <a:pt x="197716" y="159579"/>
                </a:lnTo>
                <a:lnTo>
                  <a:pt x="196034" y="158828"/>
                </a:lnTo>
                <a:lnTo>
                  <a:pt x="194353" y="158078"/>
                </a:lnTo>
                <a:lnTo>
                  <a:pt x="192298" y="157702"/>
                </a:lnTo>
                <a:lnTo>
                  <a:pt x="190616" y="157514"/>
                </a:lnTo>
                <a:lnTo>
                  <a:pt x="188561" y="157139"/>
                </a:lnTo>
                <a:lnTo>
                  <a:pt x="186693" y="157514"/>
                </a:lnTo>
                <a:lnTo>
                  <a:pt x="184824" y="157702"/>
                </a:lnTo>
                <a:lnTo>
                  <a:pt x="182956" y="158078"/>
                </a:lnTo>
                <a:lnTo>
                  <a:pt x="181087" y="158828"/>
                </a:lnTo>
                <a:lnTo>
                  <a:pt x="179593" y="159579"/>
                </a:lnTo>
                <a:lnTo>
                  <a:pt x="177911" y="160705"/>
                </a:lnTo>
                <a:lnTo>
                  <a:pt x="176416" y="161644"/>
                </a:lnTo>
                <a:lnTo>
                  <a:pt x="174922" y="163145"/>
                </a:lnTo>
                <a:lnTo>
                  <a:pt x="170998" y="167087"/>
                </a:lnTo>
                <a:lnTo>
                  <a:pt x="164272" y="161456"/>
                </a:lnTo>
                <a:lnTo>
                  <a:pt x="157733" y="155450"/>
                </a:lnTo>
                <a:lnTo>
                  <a:pt x="151193" y="149443"/>
                </a:lnTo>
                <a:lnTo>
                  <a:pt x="144841" y="143062"/>
                </a:lnTo>
                <a:lnTo>
                  <a:pt x="138675" y="136868"/>
                </a:lnTo>
                <a:lnTo>
                  <a:pt x="132696" y="130486"/>
                </a:lnTo>
                <a:lnTo>
                  <a:pt x="126904" y="123729"/>
                </a:lnTo>
                <a:lnTo>
                  <a:pt x="121299" y="117160"/>
                </a:lnTo>
                <a:lnTo>
                  <a:pt x="125223" y="113030"/>
                </a:lnTo>
                <a:lnTo>
                  <a:pt x="126718" y="111529"/>
                </a:lnTo>
                <a:lnTo>
                  <a:pt x="127652" y="109839"/>
                </a:lnTo>
                <a:lnTo>
                  <a:pt x="128586" y="108338"/>
                </a:lnTo>
                <a:lnTo>
                  <a:pt x="129520" y="106648"/>
                </a:lnTo>
                <a:lnTo>
                  <a:pt x="130081" y="104959"/>
                </a:lnTo>
                <a:lnTo>
                  <a:pt x="130641" y="103082"/>
                </a:lnTo>
                <a:lnTo>
                  <a:pt x="130828" y="101018"/>
                </a:lnTo>
                <a:lnTo>
                  <a:pt x="130828" y="99328"/>
                </a:lnTo>
                <a:lnTo>
                  <a:pt x="130828" y="97451"/>
                </a:lnTo>
                <a:lnTo>
                  <a:pt x="130641" y="95574"/>
                </a:lnTo>
                <a:lnTo>
                  <a:pt x="130081" y="93885"/>
                </a:lnTo>
                <a:lnTo>
                  <a:pt x="129520" y="92008"/>
                </a:lnTo>
                <a:lnTo>
                  <a:pt x="128586" y="90131"/>
                </a:lnTo>
                <a:lnTo>
                  <a:pt x="127652" y="88630"/>
                </a:lnTo>
                <a:lnTo>
                  <a:pt x="126718" y="86940"/>
                </a:lnTo>
                <a:lnTo>
                  <a:pt x="125223" y="85626"/>
                </a:lnTo>
                <a:lnTo>
                  <a:pt x="107847" y="67795"/>
                </a:lnTo>
                <a:lnTo>
                  <a:pt x="106165" y="66669"/>
                </a:lnTo>
                <a:lnTo>
                  <a:pt x="104857" y="65355"/>
                </a:lnTo>
                <a:lnTo>
                  <a:pt x="103176" y="64604"/>
                </a:lnTo>
                <a:lnTo>
                  <a:pt x="101308" y="63854"/>
                </a:lnTo>
                <a:lnTo>
                  <a:pt x="99626" y="63103"/>
                </a:lnTo>
                <a:lnTo>
                  <a:pt x="97758" y="62540"/>
                </a:lnTo>
                <a:lnTo>
                  <a:pt x="95889" y="62352"/>
                </a:lnTo>
                <a:close/>
                <a:moveTo>
                  <a:pt x="144000" y="0"/>
                </a:moveTo>
                <a:cubicBezTo>
                  <a:pt x="223529" y="0"/>
                  <a:pt x="288000" y="64471"/>
                  <a:pt x="288000" y="144000"/>
                </a:cubicBezTo>
                <a:cubicBezTo>
                  <a:pt x="288000" y="223529"/>
                  <a:pt x="223529" y="288000"/>
                  <a:pt x="144000" y="288000"/>
                </a:cubicBezTo>
                <a:cubicBezTo>
                  <a:pt x="64471" y="288000"/>
                  <a:pt x="0" y="223529"/>
                  <a:pt x="0" y="144000"/>
                </a:cubicBezTo>
                <a:cubicBezTo>
                  <a:pt x="0" y="64471"/>
                  <a:pt x="64471" y="0"/>
                  <a:pt x="14400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LT Arabic 55 Roman" panose="020B0604020202020204" pitchFamily="34" charset="-78"/>
              <a:ea typeface="+mn-ea"/>
              <a:cs typeface="HelveticaNeueLT Arabic 55 Roman" panose="020B0604020202020204" pitchFamily="34" charset="-78"/>
            </a:endParaRPr>
          </a:p>
        </p:txBody>
      </p:sp>
      <p:sp>
        <p:nvSpPr>
          <p:cNvPr id="61" name="Freeform 85">
            <a:extLst>
              <a:ext uri="{FF2B5EF4-FFF2-40B4-BE49-F238E27FC236}">
                <a16:creationId xmlns:a16="http://schemas.microsoft.com/office/drawing/2014/main" id="{345B9D6E-0527-4675-BF70-DD0DD9C96DC6}"/>
              </a:ext>
            </a:extLst>
          </p:cNvPr>
          <p:cNvSpPr/>
          <p:nvPr/>
        </p:nvSpPr>
        <p:spPr>
          <a:xfrm>
            <a:off x="10989249" y="5126755"/>
            <a:ext cx="341367" cy="341367"/>
          </a:xfrm>
          <a:custGeom>
            <a:avLst/>
            <a:gdLst>
              <a:gd name="connsiteX0" fmla="*/ 240691 w 305718"/>
              <a:gd name="connsiteY0" fmla="*/ 107606 h 305718"/>
              <a:gd name="connsiteX1" fmla="*/ 158408 w 305718"/>
              <a:gd name="connsiteY1" fmla="*/ 162876 h 305718"/>
              <a:gd name="connsiteX2" fmla="*/ 157596 w 305718"/>
              <a:gd name="connsiteY2" fmla="*/ 163553 h 305718"/>
              <a:gd name="connsiteX3" fmla="*/ 156513 w 305718"/>
              <a:gd name="connsiteY3" fmla="*/ 163553 h 305718"/>
              <a:gd name="connsiteX4" fmla="*/ 155430 w 305718"/>
              <a:gd name="connsiteY4" fmla="*/ 163553 h 305718"/>
              <a:gd name="connsiteX5" fmla="*/ 154348 w 305718"/>
              <a:gd name="connsiteY5" fmla="*/ 163327 h 305718"/>
              <a:gd name="connsiteX6" fmla="*/ 64756 w 305718"/>
              <a:gd name="connsiteY6" fmla="*/ 108960 h 305718"/>
              <a:gd name="connsiteX7" fmla="*/ 63674 w 305718"/>
              <a:gd name="connsiteY7" fmla="*/ 110765 h 305718"/>
              <a:gd name="connsiteX8" fmla="*/ 62591 w 305718"/>
              <a:gd name="connsiteY8" fmla="*/ 112795 h 305718"/>
              <a:gd name="connsiteX9" fmla="*/ 62320 w 305718"/>
              <a:gd name="connsiteY9" fmla="*/ 115051 h 305718"/>
              <a:gd name="connsiteX10" fmla="*/ 61779 w 305718"/>
              <a:gd name="connsiteY10" fmla="*/ 117532 h 305718"/>
              <a:gd name="connsiteX11" fmla="*/ 61779 w 305718"/>
              <a:gd name="connsiteY11" fmla="*/ 188143 h 305718"/>
              <a:gd name="connsiteX12" fmla="*/ 62320 w 305718"/>
              <a:gd name="connsiteY12" fmla="*/ 189947 h 305718"/>
              <a:gd name="connsiteX13" fmla="*/ 62320 w 305718"/>
              <a:gd name="connsiteY13" fmla="*/ 191301 h 305718"/>
              <a:gd name="connsiteX14" fmla="*/ 62862 w 305718"/>
              <a:gd name="connsiteY14" fmla="*/ 193106 h 305718"/>
              <a:gd name="connsiteX15" fmla="*/ 63403 w 305718"/>
              <a:gd name="connsiteY15" fmla="*/ 194459 h 305718"/>
              <a:gd name="connsiteX16" fmla="*/ 64215 w 305718"/>
              <a:gd name="connsiteY16" fmla="*/ 196038 h 305718"/>
              <a:gd name="connsiteX17" fmla="*/ 65027 w 305718"/>
              <a:gd name="connsiteY17" fmla="*/ 197392 h 305718"/>
              <a:gd name="connsiteX18" fmla="*/ 66110 w 305718"/>
              <a:gd name="connsiteY18" fmla="*/ 198520 h 305718"/>
              <a:gd name="connsiteX19" fmla="*/ 67463 w 305718"/>
              <a:gd name="connsiteY19" fmla="*/ 199648 h 305718"/>
              <a:gd name="connsiteX20" fmla="*/ 68817 w 305718"/>
              <a:gd name="connsiteY20" fmla="*/ 200550 h 305718"/>
              <a:gd name="connsiteX21" fmla="*/ 70170 w 305718"/>
              <a:gd name="connsiteY21" fmla="*/ 201678 h 305718"/>
              <a:gd name="connsiteX22" fmla="*/ 71523 w 305718"/>
              <a:gd name="connsiteY22" fmla="*/ 202355 h 305718"/>
              <a:gd name="connsiteX23" fmla="*/ 73418 w 305718"/>
              <a:gd name="connsiteY23" fmla="*/ 203257 h 305718"/>
              <a:gd name="connsiteX24" fmla="*/ 75042 w 305718"/>
              <a:gd name="connsiteY24" fmla="*/ 203483 h 305718"/>
              <a:gd name="connsiteX25" fmla="*/ 77207 w 305718"/>
              <a:gd name="connsiteY25" fmla="*/ 204160 h 305718"/>
              <a:gd name="connsiteX26" fmla="*/ 78831 w 305718"/>
              <a:gd name="connsiteY26" fmla="*/ 204385 h 305718"/>
              <a:gd name="connsiteX27" fmla="*/ 80997 w 305718"/>
              <a:gd name="connsiteY27" fmla="*/ 204385 h 305718"/>
              <a:gd name="connsiteX28" fmla="*/ 224451 w 305718"/>
              <a:gd name="connsiteY28" fmla="*/ 204385 h 305718"/>
              <a:gd name="connsiteX29" fmla="*/ 226616 w 305718"/>
              <a:gd name="connsiteY29" fmla="*/ 204385 h 305718"/>
              <a:gd name="connsiteX30" fmla="*/ 228511 w 305718"/>
              <a:gd name="connsiteY30" fmla="*/ 204160 h 305718"/>
              <a:gd name="connsiteX31" fmla="*/ 230406 w 305718"/>
              <a:gd name="connsiteY31" fmla="*/ 203483 h 305718"/>
              <a:gd name="connsiteX32" fmla="*/ 232300 w 305718"/>
              <a:gd name="connsiteY32" fmla="*/ 203032 h 305718"/>
              <a:gd name="connsiteX33" fmla="*/ 233924 w 305718"/>
              <a:gd name="connsiteY33" fmla="*/ 202355 h 305718"/>
              <a:gd name="connsiteX34" fmla="*/ 235819 w 305718"/>
              <a:gd name="connsiteY34" fmla="*/ 201453 h 305718"/>
              <a:gd name="connsiteX35" fmla="*/ 237172 w 305718"/>
              <a:gd name="connsiteY35" fmla="*/ 200550 h 305718"/>
              <a:gd name="connsiteX36" fmla="*/ 238526 w 305718"/>
              <a:gd name="connsiteY36" fmla="*/ 199422 h 305718"/>
              <a:gd name="connsiteX37" fmla="*/ 239608 w 305718"/>
              <a:gd name="connsiteY37" fmla="*/ 198294 h 305718"/>
              <a:gd name="connsiteX38" fmla="*/ 240962 w 305718"/>
              <a:gd name="connsiteY38" fmla="*/ 197166 h 305718"/>
              <a:gd name="connsiteX39" fmla="*/ 242044 w 305718"/>
              <a:gd name="connsiteY39" fmla="*/ 195587 h 305718"/>
              <a:gd name="connsiteX40" fmla="*/ 242586 w 305718"/>
              <a:gd name="connsiteY40" fmla="*/ 194459 h 305718"/>
              <a:gd name="connsiteX41" fmla="*/ 243398 w 305718"/>
              <a:gd name="connsiteY41" fmla="*/ 192880 h 305718"/>
              <a:gd name="connsiteX42" fmla="*/ 243668 w 305718"/>
              <a:gd name="connsiteY42" fmla="*/ 191301 h 305718"/>
              <a:gd name="connsiteX43" fmla="*/ 243939 w 305718"/>
              <a:gd name="connsiteY43" fmla="*/ 189722 h 305718"/>
              <a:gd name="connsiteX44" fmla="*/ 243939 w 305718"/>
              <a:gd name="connsiteY44" fmla="*/ 188143 h 305718"/>
              <a:gd name="connsiteX45" fmla="*/ 243939 w 305718"/>
              <a:gd name="connsiteY45" fmla="*/ 117532 h 305718"/>
              <a:gd name="connsiteX46" fmla="*/ 243939 w 305718"/>
              <a:gd name="connsiteY46" fmla="*/ 114825 h 305718"/>
              <a:gd name="connsiteX47" fmla="*/ 243398 w 305718"/>
              <a:gd name="connsiteY47" fmla="*/ 112344 h 305718"/>
              <a:gd name="connsiteX48" fmla="*/ 242044 w 305718"/>
              <a:gd name="connsiteY48" fmla="*/ 109862 h 305718"/>
              <a:gd name="connsiteX49" fmla="*/ 81818 w 305718"/>
              <a:gd name="connsiteY49" fmla="*/ 101333 h 305718"/>
              <a:gd name="connsiteX50" fmla="*/ 78571 w 305718"/>
              <a:gd name="connsiteY50" fmla="*/ 101556 h 305718"/>
              <a:gd name="connsiteX51" fmla="*/ 75052 w 305718"/>
              <a:gd name="connsiteY51" fmla="*/ 102226 h 305718"/>
              <a:gd name="connsiteX52" fmla="*/ 72075 w 305718"/>
              <a:gd name="connsiteY52" fmla="*/ 103341 h 305718"/>
              <a:gd name="connsiteX53" fmla="*/ 69369 w 305718"/>
              <a:gd name="connsiteY53" fmla="*/ 104680 h 305718"/>
              <a:gd name="connsiteX54" fmla="*/ 156513 w 305718"/>
              <a:gd name="connsiteY54" fmla="*/ 156891 h 305718"/>
              <a:gd name="connsiteX55" fmla="*/ 236349 w 305718"/>
              <a:gd name="connsiteY55" fmla="*/ 103788 h 305718"/>
              <a:gd name="connsiteX56" fmla="*/ 233913 w 305718"/>
              <a:gd name="connsiteY56" fmla="*/ 102672 h 305718"/>
              <a:gd name="connsiteX57" fmla="*/ 231478 w 305718"/>
              <a:gd name="connsiteY57" fmla="*/ 102226 h 305718"/>
              <a:gd name="connsiteX58" fmla="*/ 228230 w 305718"/>
              <a:gd name="connsiteY58" fmla="*/ 101556 h 305718"/>
              <a:gd name="connsiteX59" fmla="*/ 224983 w 305718"/>
              <a:gd name="connsiteY59" fmla="*/ 101333 h 305718"/>
              <a:gd name="connsiteX60" fmla="*/ 152859 w 305718"/>
              <a:gd name="connsiteY60" fmla="*/ 0 h 305718"/>
              <a:gd name="connsiteX61" fmla="*/ 305718 w 305718"/>
              <a:gd name="connsiteY61" fmla="*/ 152859 h 305718"/>
              <a:gd name="connsiteX62" fmla="*/ 152859 w 305718"/>
              <a:gd name="connsiteY62" fmla="*/ 305718 h 305718"/>
              <a:gd name="connsiteX63" fmla="*/ 0 w 305718"/>
              <a:gd name="connsiteY63" fmla="*/ 152859 h 305718"/>
              <a:gd name="connsiteX64" fmla="*/ 152859 w 305718"/>
              <a:gd name="connsiteY64" fmla="*/ 0 h 305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305718" h="305718">
                <a:moveTo>
                  <a:pt x="240691" y="107606"/>
                </a:moveTo>
                <a:lnTo>
                  <a:pt x="158408" y="162876"/>
                </a:lnTo>
                <a:lnTo>
                  <a:pt x="157596" y="163553"/>
                </a:lnTo>
                <a:lnTo>
                  <a:pt x="156513" y="163553"/>
                </a:lnTo>
                <a:lnTo>
                  <a:pt x="155430" y="163553"/>
                </a:lnTo>
                <a:lnTo>
                  <a:pt x="154348" y="163327"/>
                </a:lnTo>
                <a:lnTo>
                  <a:pt x="64756" y="108960"/>
                </a:lnTo>
                <a:lnTo>
                  <a:pt x="63674" y="110765"/>
                </a:lnTo>
                <a:lnTo>
                  <a:pt x="62591" y="112795"/>
                </a:lnTo>
                <a:lnTo>
                  <a:pt x="62320" y="115051"/>
                </a:lnTo>
                <a:lnTo>
                  <a:pt x="61779" y="117532"/>
                </a:lnTo>
                <a:lnTo>
                  <a:pt x="61779" y="188143"/>
                </a:lnTo>
                <a:lnTo>
                  <a:pt x="62320" y="189947"/>
                </a:lnTo>
                <a:lnTo>
                  <a:pt x="62320" y="191301"/>
                </a:lnTo>
                <a:lnTo>
                  <a:pt x="62862" y="193106"/>
                </a:lnTo>
                <a:lnTo>
                  <a:pt x="63403" y="194459"/>
                </a:lnTo>
                <a:lnTo>
                  <a:pt x="64215" y="196038"/>
                </a:lnTo>
                <a:lnTo>
                  <a:pt x="65027" y="197392"/>
                </a:lnTo>
                <a:lnTo>
                  <a:pt x="66110" y="198520"/>
                </a:lnTo>
                <a:lnTo>
                  <a:pt x="67463" y="199648"/>
                </a:lnTo>
                <a:lnTo>
                  <a:pt x="68817" y="200550"/>
                </a:lnTo>
                <a:lnTo>
                  <a:pt x="70170" y="201678"/>
                </a:lnTo>
                <a:lnTo>
                  <a:pt x="71523" y="202355"/>
                </a:lnTo>
                <a:lnTo>
                  <a:pt x="73418" y="203257"/>
                </a:lnTo>
                <a:lnTo>
                  <a:pt x="75042" y="203483"/>
                </a:lnTo>
                <a:lnTo>
                  <a:pt x="77207" y="204160"/>
                </a:lnTo>
                <a:lnTo>
                  <a:pt x="78831" y="204385"/>
                </a:lnTo>
                <a:lnTo>
                  <a:pt x="80997" y="204385"/>
                </a:lnTo>
                <a:lnTo>
                  <a:pt x="224451" y="204385"/>
                </a:lnTo>
                <a:lnTo>
                  <a:pt x="226616" y="204385"/>
                </a:lnTo>
                <a:lnTo>
                  <a:pt x="228511" y="204160"/>
                </a:lnTo>
                <a:lnTo>
                  <a:pt x="230406" y="203483"/>
                </a:lnTo>
                <a:lnTo>
                  <a:pt x="232300" y="203032"/>
                </a:lnTo>
                <a:lnTo>
                  <a:pt x="233924" y="202355"/>
                </a:lnTo>
                <a:lnTo>
                  <a:pt x="235819" y="201453"/>
                </a:lnTo>
                <a:lnTo>
                  <a:pt x="237172" y="200550"/>
                </a:lnTo>
                <a:lnTo>
                  <a:pt x="238526" y="199422"/>
                </a:lnTo>
                <a:lnTo>
                  <a:pt x="239608" y="198294"/>
                </a:lnTo>
                <a:lnTo>
                  <a:pt x="240962" y="197166"/>
                </a:lnTo>
                <a:lnTo>
                  <a:pt x="242044" y="195587"/>
                </a:lnTo>
                <a:lnTo>
                  <a:pt x="242586" y="194459"/>
                </a:lnTo>
                <a:lnTo>
                  <a:pt x="243398" y="192880"/>
                </a:lnTo>
                <a:lnTo>
                  <a:pt x="243668" y="191301"/>
                </a:lnTo>
                <a:lnTo>
                  <a:pt x="243939" y="189722"/>
                </a:lnTo>
                <a:lnTo>
                  <a:pt x="243939" y="188143"/>
                </a:lnTo>
                <a:lnTo>
                  <a:pt x="243939" y="117532"/>
                </a:lnTo>
                <a:lnTo>
                  <a:pt x="243939" y="114825"/>
                </a:lnTo>
                <a:lnTo>
                  <a:pt x="243398" y="112344"/>
                </a:lnTo>
                <a:lnTo>
                  <a:pt x="242044" y="109862"/>
                </a:lnTo>
                <a:close/>
                <a:moveTo>
                  <a:pt x="81818" y="101333"/>
                </a:moveTo>
                <a:lnTo>
                  <a:pt x="78571" y="101556"/>
                </a:lnTo>
                <a:lnTo>
                  <a:pt x="75052" y="102226"/>
                </a:lnTo>
                <a:lnTo>
                  <a:pt x="72075" y="103341"/>
                </a:lnTo>
                <a:lnTo>
                  <a:pt x="69369" y="104680"/>
                </a:lnTo>
                <a:lnTo>
                  <a:pt x="156513" y="156891"/>
                </a:lnTo>
                <a:lnTo>
                  <a:pt x="236349" y="103788"/>
                </a:lnTo>
                <a:lnTo>
                  <a:pt x="233913" y="102672"/>
                </a:lnTo>
                <a:lnTo>
                  <a:pt x="231478" y="102226"/>
                </a:lnTo>
                <a:lnTo>
                  <a:pt x="228230" y="101556"/>
                </a:lnTo>
                <a:lnTo>
                  <a:pt x="224983" y="101333"/>
                </a:lnTo>
                <a:close/>
                <a:moveTo>
                  <a:pt x="152859" y="0"/>
                </a:moveTo>
                <a:cubicBezTo>
                  <a:pt x="237281" y="0"/>
                  <a:pt x="305718" y="68437"/>
                  <a:pt x="305718" y="152859"/>
                </a:cubicBezTo>
                <a:cubicBezTo>
                  <a:pt x="305718" y="237281"/>
                  <a:pt x="237281" y="305718"/>
                  <a:pt x="152859" y="305718"/>
                </a:cubicBezTo>
                <a:cubicBezTo>
                  <a:pt x="68437" y="305718"/>
                  <a:pt x="0" y="237281"/>
                  <a:pt x="0" y="152859"/>
                </a:cubicBezTo>
                <a:cubicBezTo>
                  <a:pt x="0" y="68437"/>
                  <a:pt x="68437" y="0"/>
                  <a:pt x="15285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NeueLT Arabic 55 Roman" panose="020B0604020202020204" pitchFamily="34" charset="-78"/>
              <a:ea typeface="+mn-ea"/>
              <a:cs typeface="HelveticaNeueLT Arabic 55 Roman" panose="020B0604020202020204" pitchFamily="34" charset="-78"/>
            </a:endParaRPr>
          </a:p>
        </p:txBody>
      </p:sp>
      <p:sp>
        <p:nvSpPr>
          <p:cNvPr id="87" name="Freeform 185">
            <a:extLst>
              <a:ext uri="{FF2B5EF4-FFF2-40B4-BE49-F238E27FC236}">
                <a16:creationId xmlns:a16="http://schemas.microsoft.com/office/drawing/2014/main" id="{68B3A978-83A1-4744-87CC-126EEEBD278B}"/>
              </a:ext>
            </a:extLst>
          </p:cNvPr>
          <p:cNvSpPr>
            <a:spLocks noEditPoints="1"/>
          </p:cNvSpPr>
          <p:nvPr/>
        </p:nvSpPr>
        <p:spPr bwMode="auto">
          <a:xfrm>
            <a:off x="10990515" y="2899171"/>
            <a:ext cx="338835" cy="338835"/>
          </a:xfrm>
          <a:custGeom>
            <a:avLst/>
            <a:gdLst>
              <a:gd name="T0" fmla="*/ 177 w 393"/>
              <a:gd name="T1" fmla="*/ 0 h 393"/>
              <a:gd name="T2" fmla="*/ 119 w 393"/>
              <a:gd name="T3" fmla="*/ 16 h 393"/>
              <a:gd name="T4" fmla="*/ 72 w 393"/>
              <a:gd name="T5" fmla="*/ 44 h 393"/>
              <a:gd name="T6" fmla="*/ 34 w 393"/>
              <a:gd name="T7" fmla="*/ 85 h 393"/>
              <a:gd name="T8" fmla="*/ 10 w 393"/>
              <a:gd name="T9" fmla="*/ 137 h 393"/>
              <a:gd name="T10" fmla="*/ 0 w 393"/>
              <a:gd name="T11" fmla="*/ 195 h 393"/>
              <a:gd name="T12" fmla="*/ 4 w 393"/>
              <a:gd name="T13" fmla="*/ 235 h 393"/>
              <a:gd name="T14" fmla="*/ 24 w 393"/>
              <a:gd name="T15" fmla="*/ 289 h 393"/>
              <a:gd name="T16" fmla="*/ 58 w 393"/>
              <a:gd name="T17" fmla="*/ 335 h 393"/>
              <a:gd name="T18" fmla="*/ 103 w 393"/>
              <a:gd name="T19" fmla="*/ 369 h 393"/>
              <a:gd name="T20" fmla="*/ 157 w 393"/>
              <a:gd name="T21" fmla="*/ 389 h 393"/>
              <a:gd name="T22" fmla="*/ 197 w 393"/>
              <a:gd name="T23" fmla="*/ 393 h 393"/>
              <a:gd name="T24" fmla="*/ 255 w 393"/>
              <a:gd name="T25" fmla="*/ 385 h 393"/>
              <a:gd name="T26" fmla="*/ 307 w 393"/>
              <a:gd name="T27" fmla="*/ 359 h 393"/>
              <a:gd name="T28" fmla="*/ 349 w 393"/>
              <a:gd name="T29" fmla="*/ 321 h 393"/>
              <a:gd name="T30" fmla="*/ 379 w 393"/>
              <a:gd name="T31" fmla="*/ 273 h 393"/>
              <a:gd name="T32" fmla="*/ 393 w 393"/>
              <a:gd name="T33" fmla="*/ 217 h 393"/>
              <a:gd name="T34" fmla="*/ 393 w 393"/>
              <a:gd name="T35" fmla="*/ 175 h 393"/>
              <a:gd name="T36" fmla="*/ 379 w 393"/>
              <a:gd name="T37" fmla="*/ 119 h 393"/>
              <a:gd name="T38" fmla="*/ 349 w 393"/>
              <a:gd name="T39" fmla="*/ 71 h 393"/>
              <a:gd name="T40" fmla="*/ 307 w 393"/>
              <a:gd name="T41" fmla="*/ 34 h 393"/>
              <a:gd name="T42" fmla="*/ 255 w 393"/>
              <a:gd name="T43" fmla="*/ 8 h 393"/>
              <a:gd name="T44" fmla="*/ 197 w 393"/>
              <a:gd name="T45" fmla="*/ 0 h 393"/>
              <a:gd name="T46" fmla="*/ 295 w 393"/>
              <a:gd name="T47" fmla="*/ 157 h 393"/>
              <a:gd name="T48" fmla="*/ 293 w 393"/>
              <a:gd name="T49" fmla="*/ 187 h 393"/>
              <a:gd name="T50" fmla="*/ 269 w 393"/>
              <a:gd name="T51" fmla="*/ 247 h 393"/>
              <a:gd name="T52" fmla="*/ 239 w 393"/>
              <a:gd name="T53" fmla="*/ 277 h 393"/>
              <a:gd name="T54" fmla="*/ 201 w 393"/>
              <a:gd name="T55" fmla="*/ 297 h 393"/>
              <a:gd name="T56" fmla="*/ 155 w 393"/>
              <a:gd name="T57" fmla="*/ 303 h 393"/>
              <a:gd name="T58" fmla="*/ 115 w 393"/>
              <a:gd name="T59" fmla="*/ 297 h 393"/>
              <a:gd name="T60" fmla="*/ 80 w 393"/>
              <a:gd name="T61" fmla="*/ 281 h 393"/>
              <a:gd name="T62" fmla="*/ 107 w 393"/>
              <a:gd name="T63" fmla="*/ 281 h 393"/>
              <a:gd name="T64" fmla="*/ 153 w 393"/>
              <a:gd name="T65" fmla="*/ 261 h 393"/>
              <a:gd name="T66" fmla="*/ 137 w 393"/>
              <a:gd name="T67" fmla="*/ 259 h 393"/>
              <a:gd name="T68" fmla="*/ 109 w 393"/>
              <a:gd name="T69" fmla="*/ 233 h 393"/>
              <a:gd name="T70" fmla="*/ 115 w 393"/>
              <a:gd name="T71" fmla="*/ 227 h 393"/>
              <a:gd name="T72" fmla="*/ 129 w 393"/>
              <a:gd name="T73" fmla="*/ 225 h 393"/>
              <a:gd name="T74" fmla="*/ 105 w 393"/>
              <a:gd name="T75" fmla="*/ 215 h 393"/>
              <a:gd name="T76" fmla="*/ 92 w 393"/>
              <a:gd name="T77" fmla="*/ 195 h 393"/>
              <a:gd name="T78" fmla="*/ 90 w 393"/>
              <a:gd name="T79" fmla="*/ 177 h 393"/>
              <a:gd name="T80" fmla="*/ 99 w 393"/>
              <a:gd name="T81" fmla="*/ 181 h 393"/>
              <a:gd name="T82" fmla="*/ 101 w 393"/>
              <a:gd name="T83" fmla="*/ 175 h 393"/>
              <a:gd name="T84" fmla="*/ 90 w 393"/>
              <a:gd name="T85" fmla="*/ 141 h 393"/>
              <a:gd name="T86" fmla="*/ 95 w 393"/>
              <a:gd name="T87" fmla="*/ 117 h 393"/>
              <a:gd name="T88" fmla="*/ 115 w 393"/>
              <a:gd name="T89" fmla="*/ 137 h 393"/>
              <a:gd name="T90" fmla="*/ 153 w 393"/>
              <a:gd name="T91" fmla="*/ 159 h 393"/>
              <a:gd name="T92" fmla="*/ 197 w 393"/>
              <a:gd name="T93" fmla="*/ 169 h 393"/>
              <a:gd name="T94" fmla="*/ 197 w 393"/>
              <a:gd name="T95" fmla="*/ 157 h 393"/>
              <a:gd name="T96" fmla="*/ 205 w 393"/>
              <a:gd name="T97" fmla="*/ 129 h 393"/>
              <a:gd name="T98" fmla="*/ 227 w 393"/>
              <a:gd name="T99" fmla="*/ 111 h 393"/>
              <a:gd name="T100" fmla="*/ 247 w 393"/>
              <a:gd name="T101" fmla="*/ 107 h 393"/>
              <a:gd name="T102" fmla="*/ 275 w 393"/>
              <a:gd name="T103" fmla="*/ 117 h 393"/>
              <a:gd name="T104" fmla="*/ 299 w 393"/>
              <a:gd name="T105" fmla="*/ 119 h 393"/>
              <a:gd name="T106" fmla="*/ 311 w 393"/>
              <a:gd name="T107" fmla="*/ 119 h 393"/>
              <a:gd name="T108" fmla="*/ 293 w 393"/>
              <a:gd name="T109" fmla="*/ 139 h 393"/>
              <a:gd name="T110" fmla="*/ 321 w 393"/>
              <a:gd name="T111" fmla="*/ 131 h 393"/>
              <a:gd name="T112" fmla="*/ 295 w 393"/>
              <a:gd name="T113" fmla="*/ 157 h 3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93" h="393">
                <a:moveTo>
                  <a:pt x="197" y="0"/>
                </a:moveTo>
                <a:lnTo>
                  <a:pt x="197" y="0"/>
                </a:lnTo>
                <a:lnTo>
                  <a:pt x="177" y="0"/>
                </a:lnTo>
                <a:lnTo>
                  <a:pt x="157" y="4"/>
                </a:lnTo>
                <a:lnTo>
                  <a:pt x="139" y="8"/>
                </a:lnTo>
                <a:lnTo>
                  <a:pt x="119" y="16"/>
                </a:lnTo>
                <a:lnTo>
                  <a:pt x="103" y="24"/>
                </a:lnTo>
                <a:lnTo>
                  <a:pt x="88" y="34"/>
                </a:lnTo>
                <a:lnTo>
                  <a:pt x="72" y="44"/>
                </a:lnTo>
                <a:lnTo>
                  <a:pt x="58" y="57"/>
                </a:lnTo>
                <a:lnTo>
                  <a:pt x="46" y="71"/>
                </a:lnTo>
                <a:lnTo>
                  <a:pt x="34" y="85"/>
                </a:lnTo>
                <a:lnTo>
                  <a:pt x="24" y="101"/>
                </a:lnTo>
                <a:lnTo>
                  <a:pt x="16" y="119"/>
                </a:lnTo>
                <a:lnTo>
                  <a:pt x="10" y="137"/>
                </a:lnTo>
                <a:lnTo>
                  <a:pt x="4" y="157"/>
                </a:lnTo>
                <a:lnTo>
                  <a:pt x="2" y="175"/>
                </a:lnTo>
                <a:lnTo>
                  <a:pt x="0" y="195"/>
                </a:lnTo>
                <a:lnTo>
                  <a:pt x="0" y="195"/>
                </a:lnTo>
                <a:lnTo>
                  <a:pt x="2" y="217"/>
                </a:lnTo>
                <a:lnTo>
                  <a:pt x="4" y="235"/>
                </a:lnTo>
                <a:lnTo>
                  <a:pt x="10" y="255"/>
                </a:lnTo>
                <a:lnTo>
                  <a:pt x="16" y="273"/>
                </a:lnTo>
                <a:lnTo>
                  <a:pt x="24" y="289"/>
                </a:lnTo>
                <a:lnTo>
                  <a:pt x="34" y="307"/>
                </a:lnTo>
                <a:lnTo>
                  <a:pt x="46" y="321"/>
                </a:lnTo>
                <a:lnTo>
                  <a:pt x="58" y="335"/>
                </a:lnTo>
                <a:lnTo>
                  <a:pt x="72" y="347"/>
                </a:lnTo>
                <a:lnTo>
                  <a:pt x="88" y="359"/>
                </a:lnTo>
                <a:lnTo>
                  <a:pt x="103" y="369"/>
                </a:lnTo>
                <a:lnTo>
                  <a:pt x="119" y="377"/>
                </a:lnTo>
                <a:lnTo>
                  <a:pt x="139" y="385"/>
                </a:lnTo>
                <a:lnTo>
                  <a:pt x="157" y="389"/>
                </a:lnTo>
                <a:lnTo>
                  <a:pt x="177" y="391"/>
                </a:lnTo>
                <a:lnTo>
                  <a:pt x="197" y="393"/>
                </a:lnTo>
                <a:lnTo>
                  <a:pt x="197" y="393"/>
                </a:lnTo>
                <a:lnTo>
                  <a:pt x="217" y="391"/>
                </a:lnTo>
                <a:lnTo>
                  <a:pt x="237" y="389"/>
                </a:lnTo>
                <a:lnTo>
                  <a:pt x="255" y="385"/>
                </a:lnTo>
                <a:lnTo>
                  <a:pt x="273" y="377"/>
                </a:lnTo>
                <a:lnTo>
                  <a:pt x="291" y="369"/>
                </a:lnTo>
                <a:lnTo>
                  <a:pt x="307" y="359"/>
                </a:lnTo>
                <a:lnTo>
                  <a:pt x="321" y="347"/>
                </a:lnTo>
                <a:lnTo>
                  <a:pt x="335" y="335"/>
                </a:lnTo>
                <a:lnTo>
                  <a:pt x="349" y="321"/>
                </a:lnTo>
                <a:lnTo>
                  <a:pt x="359" y="307"/>
                </a:lnTo>
                <a:lnTo>
                  <a:pt x="369" y="289"/>
                </a:lnTo>
                <a:lnTo>
                  <a:pt x="379" y="273"/>
                </a:lnTo>
                <a:lnTo>
                  <a:pt x="385" y="255"/>
                </a:lnTo>
                <a:lnTo>
                  <a:pt x="389" y="235"/>
                </a:lnTo>
                <a:lnTo>
                  <a:pt x="393" y="217"/>
                </a:lnTo>
                <a:lnTo>
                  <a:pt x="393" y="195"/>
                </a:lnTo>
                <a:lnTo>
                  <a:pt x="393" y="195"/>
                </a:lnTo>
                <a:lnTo>
                  <a:pt x="393" y="175"/>
                </a:lnTo>
                <a:lnTo>
                  <a:pt x="389" y="157"/>
                </a:lnTo>
                <a:lnTo>
                  <a:pt x="385" y="137"/>
                </a:lnTo>
                <a:lnTo>
                  <a:pt x="379" y="119"/>
                </a:lnTo>
                <a:lnTo>
                  <a:pt x="369" y="101"/>
                </a:lnTo>
                <a:lnTo>
                  <a:pt x="359" y="85"/>
                </a:lnTo>
                <a:lnTo>
                  <a:pt x="349" y="71"/>
                </a:lnTo>
                <a:lnTo>
                  <a:pt x="335" y="57"/>
                </a:lnTo>
                <a:lnTo>
                  <a:pt x="321" y="44"/>
                </a:lnTo>
                <a:lnTo>
                  <a:pt x="307" y="34"/>
                </a:lnTo>
                <a:lnTo>
                  <a:pt x="291" y="24"/>
                </a:lnTo>
                <a:lnTo>
                  <a:pt x="273" y="16"/>
                </a:lnTo>
                <a:lnTo>
                  <a:pt x="255" y="8"/>
                </a:lnTo>
                <a:lnTo>
                  <a:pt x="237" y="4"/>
                </a:lnTo>
                <a:lnTo>
                  <a:pt x="217" y="0"/>
                </a:lnTo>
                <a:lnTo>
                  <a:pt x="197" y="0"/>
                </a:lnTo>
                <a:lnTo>
                  <a:pt x="197" y="0"/>
                </a:lnTo>
                <a:close/>
                <a:moveTo>
                  <a:pt x="295" y="157"/>
                </a:moveTo>
                <a:lnTo>
                  <a:pt x="295" y="157"/>
                </a:lnTo>
                <a:lnTo>
                  <a:pt x="295" y="163"/>
                </a:lnTo>
                <a:lnTo>
                  <a:pt x="295" y="163"/>
                </a:lnTo>
                <a:lnTo>
                  <a:pt x="293" y="187"/>
                </a:lnTo>
                <a:lnTo>
                  <a:pt x="287" y="213"/>
                </a:lnTo>
                <a:lnTo>
                  <a:pt x="275" y="237"/>
                </a:lnTo>
                <a:lnTo>
                  <a:pt x="269" y="247"/>
                </a:lnTo>
                <a:lnTo>
                  <a:pt x="259" y="257"/>
                </a:lnTo>
                <a:lnTo>
                  <a:pt x="251" y="267"/>
                </a:lnTo>
                <a:lnTo>
                  <a:pt x="239" y="277"/>
                </a:lnTo>
                <a:lnTo>
                  <a:pt x="227" y="285"/>
                </a:lnTo>
                <a:lnTo>
                  <a:pt x="215" y="291"/>
                </a:lnTo>
                <a:lnTo>
                  <a:pt x="201" y="297"/>
                </a:lnTo>
                <a:lnTo>
                  <a:pt x="187" y="301"/>
                </a:lnTo>
                <a:lnTo>
                  <a:pt x="171" y="303"/>
                </a:lnTo>
                <a:lnTo>
                  <a:pt x="155" y="303"/>
                </a:lnTo>
                <a:lnTo>
                  <a:pt x="155" y="303"/>
                </a:lnTo>
                <a:lnTo>
                  <a:pt x="135" y="303"/>
                </a:lnTo>
                <a:lnTo>
                  <a:pt x="115" y="297"/>
                </a:lnTo>
                <a:lnTo>
                  <a:pt x="95" y="291"/>
                </a:lnTo>
                <a:lnTo>
                  <a:pt x="80" y="281"/>
                </a:lnTo>
                <a:lnTo>
                  <a:pt x="80" y="281"/>
                </a:lnTo>
                <a:lnTo>
                  <a:pt x="92" y="283"/>
                </a:lnTo>
                <a:lnTo>
                  <a:pt x="92" y="283"/>
                </a:lnTo>
                <a:lnTo>
                  <a:pt x="107" y="281"/>
                </a:lnTo>
                <a:lnTo>
                  <a:pt x="123" y="277"/>
                </a:lnTo>
                <a:lnTo>
                  <a:pt x="139" y="269"/>
                </a:lnTo>
                <a:lnTo>
                  <a:pt x="153" y="261"/>
                </a:lnTo>
                <a:lnTo>
                  <a:pt x="153" y="261"/>
                </a:lnTo>
                <a:lnTo>
                  <a:pt x="145" y="261"/>
                </a:lnTo>
                <a:lnTo>
                  <a:pt x="137" y="259"/>
                </a:lnTo>
                <a:lnTo>
                  <a:pt x="123" y="251"/>
                </a:lnTo>
                <a:lnTo>
                  <a:pt x="113" y="241"/>
                </a:lnTo>
                <a:lnTo>
                  <a:pt x="109" y="233"/>
                </a:lnTo>
                <a:lnTo>
                  <a:pt x="105" y="227"/>
                </a:lnTo>
                <a:lnTo>
                  <a:pt x="105" y="227"/>
                </a:lnTo>
                <a:lnTo>
                  <a:pt x="115" y="227"/>
                </a:lnTo>
                <a:lnTo>
                  <a:pt x="115" y="227"/>
                </a:lnTo>
                <a:lnTo>
                  <a:pt x="129" y="225"/>
                </a:lnTo>
                <a:lnTo>
                  <a:pt x="129" y="225"/>
                </a:lnTo>
                <a:lnTo>
                  <a:pt x="119" y="223"/>
                </a:lnTo>
                <a:lnTo>
                  <a:pt x="113" y="219"/>
                </a:lnTo>
                <a:lnTo>
                  <a:pt x="105" y="215"/>
                </a:lnTo>
                <a:lnTo>
                  <a:pt x="99" y="209"/>
                </a:lnTo>
                <a:lnTo>
                  <a:pt x="95" y="201"/>
                </a:lnTo>
                <a:lnTo>
                  <a:pt x="92" y="195"/>
                </a:lnTo>
                <a:lnTo>
                  <a:pt x="90" y="185"/>
                </a:lnTo>
                <a:lnTo>
                  <a:pt x="90" y="177"/>
                </a:lnTo>
                <a:lnTo>
                  <a:pt x="90" y="177"/>
                </a:lnTo>
                <a:lnTo>
                  <a:pt x="90" y="177"/>
                </a:lnTo>
                <a:lnTo>
                  <a:pt x="90" y="177"/>
                </a:lnTo>
                <a:lnTo>
                  <a:pt x="99" y="181"/>
                </a:lnTo>
                <a:lnTo>
                  <a:pt x="111" y="183"/>
                </a:lnTo>
                <a:lnTo>
                  <a:pt x="111" y="183"/>
                </a:lnTo>
                <a:lnTo>
                  <a:pt x="101" y="175"/>
                </a:lnTo>
                <a:lnTo>
                  <a:pt x="95" y="165"/>
                </a:lnTo>
                <a:lnTo>
                  <a:pt x="92" y="153"/>
                </a:lnTo>
                <a:lnTo>
                  <a:pt x="90" y="141"/>
                </a:lnTo>
                <a:lnTo>
                  <a:pt x="90" y="141"/>
                </a:lnTo>
                <a:lnTo>
                  <a:pt x="92" y="129"/>
                </a:lnTo>
                <a:lnTo>
                  <a:pt x="95" y="117"/>
                </a:lnTo>
                <a:lnTo>
                  <a:pt x="95" y="117"/>
                </a:lnTo>
                <a:lnTo>
                  <a:pt x="105" y="127"/>
                </a:lnTo>
                <a:lnTo>
                  <a:pt x="115" y="137"/>
                </a:lnTo>
                <a:lnTo>
                  <a:pt x="127" y="145"/>
                </a:lnTo>
                <a:lnTo>
                  <a:pt x="141" y="153"/>
                </a:lnTo>
                <a:lnTo>
                  <a:pt x="153" y="159"/>
                </a:lnTo>
                <a:lnTo>
                  <a:pt x="167" y="163"/>
                </a:lnTo>
                <a:lnTo>
                  <a:pt x="183" y="167"/>
                </a:lnTo>
                <a:lnTo>
                  <a:pt x="197" y="169"/>
                </a:lnTo>
                <a:lnTo>
                  <a:pt x="197" y="169"/>
                </a:lnTo>
                <a:lnTo>
                  <a:pt x="197" y="157"/>
                </a:lnTo>
                <a:lnTo>
                  <a:pt x="197" y="157"/>
                </a:lnTo>
                <a:lnTo>
                  <a:pt x="197" y="147"/>
                </a:lnTo>
                <a:lnTo>
                  <a:pt x="201" y="137"/>
                </a:lnTo>
                <a:lnTo>
                  <a:pt x="205" y="129"/>
                </a:lnTo>
                <a:lnTo>
                  <a:pt x="211" y="121"/>
                </a:lnTo>
                <a:lnTo>
                  <a:pt x="219" y="115"/>
                </a:lnTo>
                <a:lnTo>
                  <a:pt x="227" y="111"/>
                </a:lnTo>
                <a:lnTo>
                  <a:pt x="237" y="109"/>
                </a:lnTo>
                <a:lnTo>
                  <a:pt x="247" y="107"/>
                </a:lnTo>
                <a:lnTo>
                  <a:pt x="247" y="107"/>
                </a:lnTo>
                <a:lnTo>
                  <a:pt x="257" y="109"/>
                </a:lnTo>
                <a:lnTo>
                  <a:pt x="267" y="111"/>
                </a:lnTo>
                <a:lnTo>
                  <a:pt x="275" y="117"/>
                </a:lnTo>
                <a:lnTo>
                  <a:pt x="283" y="123"/>
                </a:lnTo>
                <a:lnTo>
                  <a:pt x="283" y="123"/>
                </a:lnTo>
                <a:lnTo>
                  <a:pt x="299" y="119"/>
                </a:lnTo>
                <a:lnTo>
                  <a:pt x="313" y="111"/>
                </a:lnTo>
                <a:lnTo>
                  <a:pt x="313" y="111"/>
                </a:lnTo>
                <a:lnTo>
                  <a:pt x="311" y="119"/>
                </a:lnTo>
                <a:lnTo>
                  <a:pt x="305" y="127"/>
                </a:lnTo>
                <a:lnTo>
                  <a:pt x="299" y="133"/>
                </a:lnTo>
                <a:lnTo>
                  <a:pt x="293" y="139"/>
                </a:lnTo>
                <a:lnTo>
                  <a:pt x="293" y="139"/>
                </a:lnTo>
                <a:lnTo>
                  <a:pt x="307" y="135"/>
                </a:lnTo>
                <a:lnTo>
                  <a:pt x="321" y="131"/>
                </a:lnTo>
                <a:lnTo>
                  <a:pt x="321" y="131"/>
                </a:lnTo>
                <a:lnTo>
                  <a:pt x="309" y="145"/>
                </a:lnTo>
                <a:lnTo>
                  <a:pt x="295" y="157"/>
                </a:lnTo>
                <a:lnTo>
                  <a:pt x="295" y="1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120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HelveticaNeueLT Arabic 55 Roman" panose="020B0604020202020204" pitchFamily="34" charset="-78"/>
              <a:ea typeface="+mn-ea"/>
              <a:cs typeface="HelveticaNeueLT Arabic 55 Roman" panose="020B0604020202020204" pitchFamily="34" charset="-78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AAE0217-6D05-4B20-924B-583D1FC5B350}"/>
              </a:ext>
            </a:extLst>
          </p:cNvPr>
          <p:cNvCxnSpPr>
            <a:cxnSpLocks/>
          </p:cNvCxnSpPr>
          <p:nvPr/>
        </p:nvCxnSpPr>
        <p:spPr>
          <a:xfrm>
            <a:off x="7973870" y="5152208"/>
            <a:ext cx="0" cy="29046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0563A45-8B8C-4791-8C52-50A456CD4F73}"/>
              </a:ext>
            </a:extLst>
          </p:cNvPr>
          <p:cNvCxnSpPr>
            <a:cxnSpLocks/>
          </p:cNvCxnSpPr>
          <p:nvPr/>
        </p:nvCxnSpPr>
        <p:spPr>
          <a:xfrm>
            <a:off x="6169047" y="5152208"/>
            <a:ext cx="0" cy="29046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3871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TEMPLATE" val="D9fCV9f59UZFiLIMLoUj3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c46gj8Cu1acUFfJ13N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uij4NWDig4GGj2YXDfteTl"/>
  <p:tag name="PLUS_SLIDE_PPT_ID" val="364#147196071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presentation_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a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cDx5"/>
  <p:tag name="PLUS_SLIDE_PPT_ID" val="440#3831248760"/>
</p:tagLst>
</file>

<file path=ppt/theme/theme1.xml><?xml version="1.0" encoding="utf-8"?>
<a:theme xmlns:a="http://schemas.openxmlformats.org/drawingml/2006/main" name="12_Office Theme">
  <a:themeElements>
    <a:clrScheme name="Red Orange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Custom 47">
      <a:majorFont>
        <a:latin typeface="Nexa Bold"/>
        <a:ea typeface=""/>
        <a:cs typeface=""/>
      </a:majorFont>
      <a:minorFont>
        <a:latin typeface="Nex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8243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FF59C23-287C-4656-B09A-41868D965571}">
  <we:reference id="WA200007130" version="1.0.0.1" store="Omex" storeType="OMEX"/>
  <we:alternateReferences>
    <we:reference id="WA200007130" version="1.0.0.1" store="WA200007130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11827</TotalTime>
  <Words>39</Words>
  <Application>Microsoft Office PowerPoint</Application>
  <PresentationFormat>Widescreen</PresentationFormat>
  <Paragraphs>1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4" baseType="lpstr">
      <vt:lpstr>Aptos</vt:lpstr>
      <vt:lpstr>Aptos Light</vt:lpstr>
      <vt:lpstr>Arial</vt:lpstr>
      <vt:lpstr>Calibri</vt:lpstr>
      <vt:lpstr>HelveticaNeueLT Arabic 55 Roman</vt:lpstr>
      <vt:lpstr>HelveticaNeueLT Arabic 75 Bold</vt:lpstr>
      <vt:lpstr>Nexa Bold</vt:lpstr>
      <vt:lpstr>Nexa Light</vt:lpstr>
      <vt:lpstr>Verdana</vt:lpstr>
      <vt:lpstr>12_Office Theme</vt:lpstr>
      <vt:lpstr>think-cell Slide</vt:lpstr>
      <vt:lpstr>Title</vt:lpstr>
      <vt:lpstr>Slide Titl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del Al Zahrani l Kafaa</dc:creator>
  <cp:lastModifiedBy>Adel Al Zahrani l Kafaa</cp:lastModifiedBy>
  <cp:revision>5</cp:revision>
  <dcterms:created xsi:type="dcterms:W3CDTF">2025-07-28T10:25:14Z</dcterms:created>
  <dcterms:modified xsi:type="dcterms:W3CDTF">2025-08-27T00:15:58Z</dcterms:modified>
</cp:coreProperties>
</file>